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trictFirstAndLastChars="0" saveSubsetFonts="1" autoCompressPictures="0">
  <p:sldMasterIdLst>
    <p:sldMasterId id="2147483671" r:id="rId1"/>
    <p:sldMasterId id="2147483676" r:id="rId2"/>
  </p:sldMasterIdLst>
  <p:notesMasterIdLst>
    <p:notesMasterId r:id="rId4"/>
  </p:notesMasterIdLst>
  <p:sldIdLst>
    <p:sldId id="321" r:id="rId3"/>
  </p:sldIdLst>
  <p:sldSz cx="12192000" cy="6858000"/>
  <p:notesSz cx="6858000" cy="9144000"/>
  <p:custDataLst>
    <p:tags r:id="rId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428"/>
    <a:srgbClr val="FFC000"/>
    <a:srgbClr val="FF564E"/>
    <a:srgbClr val="D5D5D5"/>
    <a:srgbClr val="7F7F7F"/>
    <a:srgbClr val="353535"/>
    <a:srgbClr val="48A1FA"/>
    <a:srgbClr val="5B9BD5"/>
    <a:srgbClr val="6F7170"/>
    <a:srgbClr val="3E8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82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E7C7B5-D5A9-4FDB-9C8C-E1C21789FDAA}" type="doc">
      <dgm:prSet loTypeId="urn:microsoft.com/office/officeart/2005/8/layout/hChevron3" loCatId="process" qsTypeId="urn:microsoft.com/office/officeart/2005/8/quickstyle/simple5" qsCatId="simple" csTypeId="urn:microsoft.com/office/officeart/2005/8/colors/accent1_2" csCatId="accent1" phldr="1"/>
      <dgm:spPr/>
    </dgm:pt>
    <dgm:pt modelId="{9C18E040-E0A7-4965-8C67-54FAA3A6F67D}">
      <dgm:prSet phldrT="[文本]"/>
      <dgm:spPr>
        <a:solidFill>
          <a:srgbClr val="00B050"/>
        </a:solidFill>
      </dgm:spPr>
      <dgm:t>
        <a:bodyPr/>
        <a:lstStyle/>
        <a:p>
          <a:r>
            <a:rPr lang="en-US" altLang="zh-CN" dirty="0" smtClean="0">
              <a:solidFill>
                <a:schemeClr val="tx1"/>
              </a:solidFill>
            </a:rPr>
            <a:t>12-8 </a:t>
          </a:r>
          <a:r>
            <a:rPr lang="zh-CN" altLang="en-US" dirty="0" smtClean="0">
              <a:solidFill>
                <a:schemeClr val="tx1"/>
              </a:solidFill>
            </a:rPr>
            <a:t>新建工程，部署开发环境</a:t>
          </a:r>
          <a:endParaRPr lang="zh-CN" altLang="en-US" dirty="0">
            <a:solidFill>
              <a:schemeClr val="tx1"/>
            </a:solidFill>
          </a:endParaRPr>
        </a:p>
      </dgm:t>
    </dgm:pt>
    <dgm:pt modelId="{92A15430-17DE-453A-A555-33F46EB58605}" type="parTrans" cxnId="{344FBE60-6CE2-4AEA-9306-D951E4C95DC2}">
      <dgm:prSet/>
      <dgm:spPr/>
      <dgm:t>
        <a:bodyPr/>
        <a:lstStyle/>
        <a:p>
          <a:endParaRPr lang="zh-CN" altLang="en-US"/>
        </a:p>
      </dgm:t>
    </dgm:pt>
    <dgm:pt modelId="{01D70E0A-3FED-4CB5-8D65-6461E79E4392}" type="sibTrans" cxnId="{344FBE60-6CE2-4AEA-9306-D951E4C95DC2}">
      <dgm:prSet/>
      <dgm:spPr/>
      <dgm:t>
        <a:bodyPr/>
        <a:lstStyle/>
        <a:p>
          <a:endParaRPr lang="zh-CN" altLang="en-US"/>
        </a:p>
      </dgm:t>
    </dgm:pt>
    <dgm:pt modelId="{A16A6C0E-1908-4761-9276-436D3D1454DD}">
      <dgm:prSet phldrT="[文本]"/>
      <dgm:spPr>
        <a:solidFill>
          <a:srgbClr val="00B050"/>
        </a:solidFill>
      </dgm:spPr>
      <dgm:t>
        <a:bodyPr/>
        <a:lstStyle/>
        <a:p>
          <a:r>
            <a:rPr lang="en-US" altLang="zh-CN" dirty="0" smtClean="0">
              <a:solidFill>
                <a:schemeClr val="tx1"/>
              </a:solidFill>
            </a:rPr>
            <a:t>12-12 </a:t>
          </a:r>
          <a:r>
            <a:rPr lang="zh-CN" altLang="en-US" dirty="0" smtClean="0">
              <a:solidFill>
                <a:schemeClr val="tx1"/>
              </a:solidFill>
            </a:rPr>
            <a:t>新建数据库</a:t>
          </a:r>
          <a:r>
            <a:rPr lang="en-US" altLang="zh-CN" dirty="0" smtClean="0">
              <a:solidFill>
                <a:schemeClr val="tx1"/>
              </a:solidFill>
            </a:rPr>
            <a:t>-</a:t>
          </a:r>
          <a:r>
            <a:rPr lang="zh-CN" altLang="en-US" dirty="0" smtClean="0">
              <a:solidFill>
                <a:schemeClr val="tx1"/>
              </a:solidFill>
            </a:rPr>
            <a:t>数据表</a:t>
          </a:r>
          <a:endParaRPr lang="zh-CN" altLang="en-US" dirty="0">
            <a:solidFill>
              <a:schemeClr val="tx1"/>
            </a:solidFill>
          </a:endParaRPr>
        </a:p>
      </dgm:t>
    </dgm:pt>
    <dgm:pt modelId="{DC4BD2D7-5E2A-47B6-97C1-2F8390976A68}" type="parTrans" cxnId="{A63105C5-235E-4A5A-AF0E-EC60B12A753F}">
      <dgm:prSet/>
      <dgm:spPr/>
      <dgm:t>
        <a:bodyPr/>
        <a:lstStyle/>
        <a:p>
          <a:endParaRPr lang="zh-CN" altLang="en-US"/>
        </a:p>
      </dgm:t>
    </dgm:pt>
    <dgm:pt modelId="{10E7C503-9033-468C-9DB3-F5C21855E315}" type="sibTrans" cxnId="{A63105C5-235E-4A5A-AF0E-EC60B12A753F}">
      <dgm:prSet/>
      <dgm:spPr/>
      <dgm:t>
        <a:bodyPr/>
        <a:lstStyle/>
        <a:p>
          <a:endParaRPr lang="zh-CN" altLang="en-US"/>
        </a:p>
      </dgm:t>
    </dgm:pt>
    <dgm:pt modelId="{3A550037-4370-4ADE-830B-FF7D3F99A833}">
      <dgm:prSet phldrT="[文本]"/>
      <dgm:spPr>
        <a:solidFill>
          <a:srgbClr val="00B050"/>
        </a:solidFill>
      </dgm:spPr>
      <dgm:t>
        <a:bodyPr/>
        <a:lstStyle/>
        <a:p>
          <a:r>
            <a:rPr lang="en-US" altLang="zh-CN" dirty="0" smtClean="0">
              <a:solidFill>
                <a:schemeClr val="tx1"/>
              </a:solidFill>
            </a:rPr>
            <a:t>12-14 </a:t>
          </a:r>
          <a:r>
            <a:rPr lang="zh-CN" altLang="en-US" dirty="0" smtClean="0">
              <a:solidFill>
                <a:schemeClr val="tx1"/>
              </a:solidFill>
            </a:rPr>
            <a:t>最后一次确认开发逻辑</a:t>
          </a:r>
          <a:endParaRPr lang="zh-CN" altLang="en-US" dirty="0">
            <a:solidFill>
              <a:schemeClr val="tx1"/>
            </a:solidFill>
          </a:endParaRPr>
        </a:p>
      </dgm:t>
    </dgm:pt>
    <dgm:pt modelId="{F2F312CD-9263-49C2-B5A5-3C5149DA22B9}" type="parTrans" cxnId="{B3AAB2A0-3E20-4E86-882B-CC8CC2C54D79}">
      <dgm:prSet/>
      <dgm:spPr/>
      <dgm:t>
        <a:bodyPr/>
        <a:lstStyle/>
        <a:p>
          <a:endParaRPr lang="zh-CN" altLang="en-US"/>
        </a:p>
      </dgm:t>
    </dgm:pt>
    <dgm:pt modelId="{1CC5B7C4-7AD1-4205-B581-6471DE8F95C7}" type="sibTrans" cxnId="{B3AAB2A0-3E20-4E86-882B-CC8CC2C54D79}">
      <dgm:prSet/>
      <dgm:spPr/>
      <dgm:t>
        <a:bodyPr/>
        <a:lstStyle/>
        <a:p>
          <a:endParaRPr lang="zh-CN" altLang="en-US"/>
        </a:p>
      </dgm:t>
    </dgm:pt>
    <dgm:pt modelId="{12510622-9770-434C-BC09-6D1E821DC46F}">
      <dgm:prSet phldrT="[文本]"/>
      <dgm:spPr>
        <a:solidFill>
          <a:srgbClr val="00B050"/>
        </a:solidFill>
      </dgm:spPr>
      <dgm:t>
        <a:bodyPr/>
        <a:lstStyle/>
        <a:p>
          <a:r>
            <a:rPr lang="en-US" altLang="zh-CN" dirty="0" smtClean="0">
              <a:solidFill>
                <a:schemeClr val="tx1"/>
              </a:solidFill>
            </a:rPr>
            <a:t>01-13 </a:t>
          </a:r>
          <a:r>
            <a:rPr lang="zh-CN" altLang="en-US" dirty="0" smtClean="0">
              <a:solidFill>
                <a:schemeClr val="tx1"/>
              </a:solidFill>
            </a:rPr>
            <a:t>物料组</a:t>
          </a:r>
          <a:r>
            <a:rPr lang="en-US" altLang="zh-CN" dirty="0" smtClean="0">
              <a:solidFill>
                <a:schemeClr val="tx1"/>
              </a:solidFill>
            </a:rPr>
            <a:t>&amp;CFC FAE </a:t>
          </a:r>
          <a:r>
            <a:rPr lang="en-US" altLang="zh-CN" u="none" dirty="0" smtClean="0">
              <a:solidFill>
                <a:schemeClr val="tx1"/>
              </a:solidFill>
            </a:rPr>
            <a:t>Client</a:t>
          </a:r>
          <a:endParaRPr lang="zh-CN" altLang="en-US" u="none" dirty="0">
            <a:solidFill>
              <a:schemeClr val="tx1"/>
            </a:solidFill>
          </a:endParaRPr>
        </a:p>
      </dgm:t>
    </dgm:pt>
    <dgm:pt modelId="{2F0002A8-6D88-4314-9BC7-690E90091C61}" type="parTrans" cxnId="{FF347D3F-C5F0-4A1B-A9CD-95DA824EEEC1}">
      <dgm:prSet/>
      <dgm:spPr/>
      <dgm:t>
        <a:bodyPr/>
        <a:lstStyle/>
        <a:p>
          <a:endParaRPr lang="zh-CN" altLang="en-US"/>
        </a:p>
      </dgm:t>
    </dgm:pt>
    <dgm:pt modelId="{9D2A8865-DE4C-4C11-9070-04AEC04BF2F0}" type="sibTrans" cxnId="{FF347D3F-C5F0-4A1B-A9CD-95DA824EEEC1}">
      <dgm:prSet/>
      <dgm:spPr/>
      <dgm:t>
        <a:bodyPr/>
        <a:lstStyle/>
        <a:p>
          <a:endParaRPr lang="zh-CN" altLang="en-US"/>
        </a:p>
      </dgm:t>
    </dgm:pt>
    <dgm:pt modelId="{162909B4-3D0B-4ACE-90D6-6CA7F290089D}">
      <dgm:prSet phldrT="[文本]"/>
      <dgm:spPr/>
      <dgm:t>
        <a:bodyPr/>
        <a:lstStyle/>
        <a:p>
          <a:r>
            <a:rPr lang="en-US" altLang="zh-CN" dirty="0" smtClean="0"/>
            <a:t>01-21 </a:t>
          </a:r>
          <a:r>
            <a:rPr lang="en-US" altLang="zh-CN" dirty="0" smtClean="0"/>
            <a:t>SD BU ME/BE ME Client</a:t>
          </a:r>
          <a:endParaRPr lang="zh-CN" altLang="en-US" dirty="0"/>
        </a:p>
      </dgm:t>
    </dgm:pt>
    <dgm:pt modelId="{001A73BF-875D-4A03-B175-F927242E9482}" type="parTrans" cxnId="{7AF3036E-6AAE-4464-B870-A8146B3CE8CC}">
      <dgm:prSet/>
      <dgm:spPr/>
      <dgm:t>
        <a:bodyPr/>
        <a:lstStyle/>
        <a:p>
          <a:endParaRPr lang="zh-CN" altLang="en-US"/>
        </a:p>
      </dgm:t>
    </dgm:pt>
    <dgm:pt modelId="{EC8FA99D-12BE-4E5A-978B-32A1263A1325}" type="sibTrans" cxnId="{7AF3036E-6AAE-4464-B870-A8146B3CE8CC}">
      <dgm:prSet/>
      <dgm:spPr/>
      <dgm:t>
        <a:bodyPr/>
        <a:lstStyle/>
        <a:p>
          <a:endParaRPr lang="zh-CN" altLang="en-US"/>
        </a:p>
      </dgm:t>
    </dgm:pt>
    <dgm:pt modelId="{5C2D69D7-35E5-4F58-ABB2-1409F4836F91}">
      <dgm:prSet phldrT="[文本]"/>
      <dgm:spPr/>
      <dgm:t>
        <a:bodyPr/>
        <a:lstStyle/>
        <a:p>
          <a:r>
            <a:rPr lang="en-US" altLang="zh-CN" dirty="0" smtClean="0"/>
            <a:t>01-28 </a:t>
          </a:r>
          <a:r>
            <a:rPr lang="zh-CN" altLang="en-US" dirty="0" smtClean="0"/>
            <a:t>大数据系统流程管理模块</a:t>
          </a:r>
          <a:endParaRPr lang="zh-CN" altLang="en-US" dirty="0"/>
        </a:p>
      </dgm:t>
    </dgm:pt>
    <dgm:pt modelId="{6AB6BEFF-09C7-4C4F-BF64-1D3E3B4373FD}" type="parTrans" cxnId="{A94B7B50-41B6-4310-B665-12F615E5E35C}">
      <dgm:prSet/>
      <dgm:spPr/>
      <dgm:t>
        <a:bodyPr/>
        <a:lstStyle/>
        <a:p>
          <a:endParaRPr lang="zh-CN" altLang="en-US"/>
        </a:p>
      </dgm:t>
    </dgm:pt>
    <dgm:pt modelId="{102DE3DA-4036-491A-A437-1C4E2A563477}" type="sibTrans" cxnId="{A94B7B50-41B6-4310-B665-12F615E5E35C}">
      <dgm:prSet/>
      <dgm:spPr/>
      <dgm:t>
        <a:bodyPr/>
        <a:lstStyle/>
        <a:p>
          <a:endParaRPr lang="zh-CN" altLang="en-US"/>
        </a:p>
      </dgm:t>
    </dgm:pt>
    <dgm:pt modelId="{7181ECFD-DB2D-4B71-B0EA-3F6899B20E68}">
      <dgm:prSet phldrT="[文本]"/>
      <dgm:spPr/>
      <dgm:t>
        <a:bodyPr/>
        <a:lstStyle/>
        <a:p>
          <a:r>
            <a:rPr lang="en-US" altLang="zh-CN" dirty="0" smtClean="0"/>
            <a:t>01-29 </a:t>
          </a:r>
          <a:r>
            <a:rPr lang="zh-CN" altLang="en-US" dirty="0" smtClean="0"/>
            <a:t>试运行</a:t>
          </a:r>
          <a:r>
            <a:rPr lang="en-US" altLang="zh-CN" dirty="0" smtClean="0"/>
            <a:t>/</a:t>
          </a:r>
          <a:r>
            <a:rPr lang="zh-CN" altLang="en-US" dirty="0" smtClean="0"/>
            <a:t>优化</a:t>
          </a:r>
          <a:endParaRPr lang="zh-CN" altLang="en-US" dirty="0"/>
        </a:p>
      </dgm:t>
    </dgm:pt>
    <dgm:pt modelId="{D216EE1B-4BC7-4E7C-B4CE-7E0BA5B3C047}" type="parTrans" cxnId="{A3DBAE45-6B03-456B-BE71-78C38A51724F}">
      <dgm:prSet/>
      <dgm:spPr/>
      <dgm:t>
        <a:bodyPr/>
        <a:lstStyle/>
        <a:p>
          <a:endParaRPr lang="zh-CN" altLang="en-US"/>
        </a:p>
      </dgm:t>
    </dgm:pt>
    <dgm:pt modelId="{927DAD87-FBE1-426C-B12F-D1F046E7E255}" type="sibTrans" cxnId="{A3DBAE45-6B03-456B-BE71-78C38A51724F}">
      <dgm:prSet/>
      <dgm:spPr/>
      <dgm:t>
        <a:bodyPr/>
        <a:lstStyle/>
        <a:p>
          <a:endParaRPr lang="zh-CN" altLang="en-US"/>
        </a:p>
      </dgm:t>
    </dgm:pt>
    <dgm:pt modelId="{14D9A3C6-F86E-4B1C-B3DC-EF811BD93136}" type="pres">
      <dgm:prSet presAssocID="{E5E7C7B5-D5A9-4FDB-9C8C-E1C21789FDAA}" presName="Name0" presStyleCnt="0">
        <dgm:presLayoutVars>
          <dgm:dir/>
          <dgm:resizeHandles val="exact"/>
        </dgm:presLayoutVars>
      </dgm:prSet>
      <dgm:spPr/>
    </dgm:pt>
    <dgm:pt modelId="{F6841F7C-A575-4C48-88AC-A1D120F4F64F}" type="pres">
      <dgm:prSet presAssocID="{9C18E040-E0A7-4965-8C67-54FAA3A6F67D}" presName="parTxOnly" presStyleLbl="node1" presStyleIdx="0" presStyleCnt="7" custLinFactNeighborX="-1613" custLinFactNeighborY="-86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4D8C57D-6878-4BDC-A528-F61F04243FAF}" type="pres">
      <dgm:prSet presAssocID="{01D70E0A-3FED-4CB5-8D65-6461E79E4392}" presName="parSpace" presStyleCnt="0"/>
      <dgm:spPr/>
    </dgm:pt>
    <dgm:pt modelId="{AC0344F8-449B-4D87-AB25-3635110915E4}" type="pres">
      <dgm:prSet presAssocID="{A16A6C0E-1908-4761-9276-436D3D1454DD}" presName="parTxOnly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2D75A42-7489-43B8-AC1F-7F8F4D8E33F9}" type="pres">
      <dgm:prSet presAssocID="{10E7C503-9033-468C-9DB3-F5C21855E315}" presName="parSpace" presStyleCnt="0"/>
      <dgm:spPr/>
    </dgm:pt>
    <dgm:pt modelId="{F5473F6F-4ABD-4554-B364-2B33038D5963}" type="pres">
      <dgm:prSet presAssocID="{3A550037-4370-4ADE-830B-FF7D3F99A833}" presName="parTxOnly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F8D99B4-1188-4E7D-B560-AC127F524F71}" type="pres">
      <dgm:prSet presAssocID="{1CC5B7C4-7AD1-4205-B581-6471DE8F95C7}" presName="parSpace" presStyleCnt="0"/>
      <dgm:spPr/>
    </dgm:pt>
    <dgm:pt modelId="{6D4FE7FC-B58B-40BB-9878-D5B0809FB1E6}" type="pres">
      <dgm:prSet presAssocID="{12510622-9770-434C-BC09-6D1E821DC46F}" presName="parTxOnly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9C0666A-722E-47A8-9B45-0837C0D2B16C}" type="pres">
      <dgm:prSet presAssocID="{9D2A8865-DE4C-4C11-9070-04AEC04BF2F0}" presName="parSpace" presStyleCnt="0"/>
      <dgm:spPr/>
    </dgm:pt>
    <dgm:pt modelId="{DC7D6C2B-8989-4A96-A5F1-47388ADF9EC1}" type="pres">
      <dgm:prSet presAssocID="{162909B4-3D0B-4ACE-90D6-6CA7F290089D}" presName="parTxOnly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9A092C4-7833-4F64-9613-C7EEC0C52F73}" type="pres">
      <dgm:prSet presAssocID="{EC8FA99D-12BE-4E5A-978B-32A1263A1325}" presName="parSpace" presStyleCnt="0"/>
      <dgm:spPr/>
    </dgm:pt>
    <dgm:pt modelId="{BC07D374-AEA8-4E61-90E0-748AFF1C3C36}" type="pres">
      <dgm:prSet presAssocID="{5C2D69D7-35E5-4F58-ABB2-1409F4836F91}" presName="parTxOnly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4A0CE05-D008-4990-95D5-DF954698B5F7}" type="pres">
      <dgm:prSet presAssocID="{102DE3DA-4036-491A-A437-1C4E2A563477}" presName="parSpace" presStyleCnt="0"/>
      <dgm:spPr/>
    </dgm:pt>
    <dgm:pt modelId="{A7AD6082-1FEF-4D6C-99DB-FFE5FF66F778}" type="pres">
      <dgm:prSet presAssocID="{7181ECFD-DB2D-4B71-B0EA-3F6899B20E68}" presName="parTxOnly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A63105C5-235E-4A5A-AF0E-EC60B12A753F}" srcId="{E5E7C7B5-D5A9-4FDB-9C8C-E1C21789FDAA}" destId="{A16A6C0E-1908-4761-9276-436D3D1454DD}" srcOrd="1" destOrd="0" parTransId="{DC4BD2D7-5E2A-47B6-97C1-2F8390976A68}" sibTransId="{10E7C503-9033-468C-9DB3-F5C21855E315}"/>
    <dgm:cxn modelId="{FF347D3F-C5F0-4A1B-A9CD-95DA824EEEC1}" srcId="{E5E7C7B5-D5A9-4FDB-9C8C-E1C21789FDAA}" destId="{12510622-9770-434C-BC09-6D1E821DC46F}" srcOrd="3" destOrd="0" parTransId="{2F0002A8-6D88-4314-9BC7-690E90091C61}" sibTransId="{9D2A8865-DE4C-4C11-9070-04AEC04BF2F0}"/>
    <dgm:cxn modelId="{344FBE60-6CE2-4AEA-9306-D951E4C95DC2}" srcId="{E5E7C7B5-D5A9-4FDB-9C8C-E1C21789FDAA}" destId="{9C18E040-E0A7-4965-8C67-54FAA3A6F67D}" srcOrd="0" destOrd="0" parTransId="{92A15430-17DE-453A-A555-33F46EB58605}" sibTransId="{01D70E0A-3FED-4CB5-8D65-6461E79E4392}"/>
    <dgm:cxn modelId="{661C2B16-7F33-4A08-B4F0-30EDB0E121C3}" type="presOf" srcId="{9C18E040-E0A7-4965-8C67-54FAA3A6F67D}" destId="{F6841F7C-A575-4C48-88AC-A1D120F4F64F}" srcOrd="0" destOrd="0" presId="urn:microsoft.com/office/officeart/2005/8/layout/hChevron3"/>
    <dgm:cxn modelId="{9830825B-F506-4922-95DE-9DD6E0984EC0}" type="presOf" srcId="{3A550037-4370-4ADE-830B-FF7D3F99A833}" destId="{F5473F6F-4ABD-4554-B364-2B33038D5963}" srcOrd="0" destOrd="0" presId="urn:microsoft.com/office/officeart/2005/8/layout/hChevron3"/>
    <dgm:cxn modelId="{99C9A3C7-4F70-408A-B11E-A0C4115EF76C}" type="presOf" srcId="{12510622-9770-434C-BC09-6D1E821DC46F}" destId="{6D4FE7FC-B58B-40BB-9878-D5B0809FB1E6}" srcOrd="0" destOrd="0" presId="urn:microsoft.com/office/officeart/2005/8/layout/hChevron3"/>
    <dgm:cxn modelId="{7AF3036E-6AAE-4464-B870-A8146B3CE8CC}" srcId="{E5E7C7B5-D5A9-4FDB-9C8C-E1C21789FDAA}" destId="{162909B4-3D0B-4ACE-90D6-6CA7F290089D}" srcOrd="4" destOrd="0" parTransId="{001A73BF-875D-4A03-B175-F927242E9482}" sibTransId="{EC8FA99D-12BE-4E5A-978B-32A1263A1325}"/>
    <dgm:cxn modelId="{6AD5382A-16A5-4FF8-A926-43D20ED7F926}" type="presOf" srcId="{A16A6C0E-1908-4761-9276-436D3D1454DD}" destId="{AC0344F8-449B-4D87-AB25-3635110915E4}" srcOrd="0" destOrd="0" presId="urn:microsoft.com/office/officeart/2005/8/layout/hChevron3"/>
    <dgm:cxn modelId="{347570C2-DCB0-4095-8DF2-CE01FC3ABAB0}" type="presOf" srcId="{5C2D69D7-35E5-4F58-ABB2-1409F4836F91}" destId="{BC07D374-AEA8-4E61-90E0-748AFF1C3C36}" srcOrd="0" destOrd="0" presId="urn:microsoft.com/office/officeart/2005/8/layout/hChevron3"/>
    <dgm:cxn modelId="{A3DBAE45-6B03-456B-BE71-78C38A51724F}" srcId="{E5E7C7B5-D5A9-4FDB-9C8C-E1C21789FDAA}" destId="{7181ECFD-DB2D-4B71-B0EA-3F6899B20E68}" srcOrd="6" destOrd="0" parTransId="{D216EE1B-4BC7-4E7C-B4CE-7E0BA5B3C047}" sibTransId="{927DAD87-FBE1-426C-B12F-D1F046E7E255}"/>
    <dgm:cxn modelId="{A94B7B50-41B6-4310-B665-12F615E5E35C}" srcId="{E5E7C7B5-D5A9-4FDB-9C8C-E1C21789FDAA}" destId="{5C2D69D7-35E5-4F58-ABB2-1409F4836F91}" srcOrd="5" destOrd="0" parTransId="{6AB6BEFF-09C7-4C4F-BF64-1D3E3B4373FD}" sibTransId="{102DE3DA-4036-491A-A437-1C4E2A563477}"/>
    <dgm:cxn modelId="{7965845A-252B-4B01-9AE7-0E531585246B}" type="presOf" srcId="{7181ECFD-DB2D-4B71-B0EA-3F6899B20E68}" destId="{A7AD6082-1FEF-4D6C-99DB-FFE5FF66F778}" srcOrd="0" destOrd="0" presId="urn:microsoft.com/office/officeart/2005/8/layout/hChevron3"/>
    <dgm:cxn modelId="{B3AAB2A0-3E20-4E86-882B-CC8CC2C54D79}" srcId="{E5E7C7B5-D5A9-4FDB-9C8C-E1C21789FDAA}" destId="{3A550037-4370-4ADE-830B-FF7D3F99A833}" srcOrd="2" destOrd="0" parTransId="{F2F312CD-9263-49C2-B5A5-3C5149DA22B9}" sibTransId="{1CC5B7C4-7AD1-4205-B581-6471DE8F95C7}"/>
    <dgm:cxn modelId="{15B83183-CF19-46E6-8187-B3BB3A230123}" type="presOf" srcId="{162909B4-3D0B-4ACE-90D6-6CA7F290089D}" destId="{DC7D6C2B-8989-4A96-A5F1-47388ADF9EC1}" srcOrd="0" destOrd="0" presId="urn:microsoft.com/office/officeart/2005/8/layout/hChevron3"/>
    <dgm:cxn modelId="{115F5A6B-7BF4-4576-AEF2-DD7C2634697C}" type="presOf" srcId="{E5E7C7B5-D5A9-4FDB-9C8C-E1C21789FDAA}" destId="{14D9A3C6-F86E-4B1C-B3DC-EF811BD93136}" srcOrd="0" destOrd="0" presId="urn:microsoft.com/office/officeart/2005/8/layout/hChevron3"/>
    <dgm:cxn modelId="{B433D63C-E494-4D43-8EA7-32C267A50D5D}" type="presParOf" srcId="{14D9A3C6-F86E-4B1C-B3DC-EF811BD93136}" destId="{F6841F7C-A575-4C48-88AC-A1D120F4F64F}" srcOrd="0" destOrd="0" presId="urn:microsoft.com/office/officeart/2005/8/layout/hChevron3"/>
    <dgm:cxn modelId="{80D4FCA9-A011-42F3-ACFC-601D6C4348D8}" type="presParOf" srcId="{14D9A3C6-F86E-4B1C-B3DC-EF811BD93136}" destId="{84D8C57D-6878-4BDC-A528-F61F04243FAF}" srcOrd="1" destOrd="0" presId="urn:microsoft.com/office/officeart/2005/8/layout/hChevron3"/>
    <dgm:cxn modelId="{C21F7F93-AB97-4040-B0C7-7BA7F2262159}" type="presParOf" srcId="{14D9A3C6-F86E-4B1C-B3DC-EF811BD93136}" destId="{AC0344F8-449B-4D87-AB25-3635110915E4}" srcOrd="2" destOrd="0" presId="urn:microsoft.com/office/officeart/2005/8/layout/hChevron3"/>
    <dgm:cxn modelId="{BE72D129-60DC-4BC9-BB79-C6FB46490555}" type="presParOf" srcId="{14D9A3C6-F86E-4B1C-B3DC-EF811BD93136}" destId="{B2D75A42-7489-43B8-AC1F-7F8F4D8E33F9}" srcOrd="3" destOrd="0" presId="urn:microsoft.com/office/officeart/2005/8/layout/hChevron3"/>
    <dgm:cxn modelId="{6487E1F3-BF43-4F1A-A352-96BB98DC3646}" type="presParOf" srcId="{14D9A3C6-F86E-4B1C-B3DC-EF811BD93136}" destId="{F5473F6F-4ABD-4554-B364-2B33038D5963}" srcOrd="4" destOrd="0" presId="urn:microsoft.com/office/officeart/2005/8/layout/hChevron3"/>
    <dgm:cxn modelId="{A9A6A717-4858-4789-B51E-DD3ED122EDD9}" type="presParOf" srcId="{14D9A3C6-F86E-4B1C-B3DC-EF811BD93136}" destId="{CF8D99B4-1188-4E7D-B560-AC127F524F71}" srcOrd="5" destOrd="0" presId="urn:microsoft.com/office/officeart/2005/8/layout/hChevron3"/>
    <dgm:cxn modelId="{442A5210-BBC1-4865-AD39-FA58ADEEE15F}" type="presParOf" srcId="{14D9A3C6-F86E-4B1C-B3DC-EF811BD93136}" destId="{6D4FE7FC-B58B-40BB-9878-D5B0809FB1E6}" srcOrd="6" destOrd="0" presId="urn:microsoft.com/office/officeart/2005/8/layout/hChevron3"/>
    <dgm:cxn modelId="{A0C8D364-B3AD-45BD-ACA4-0179E86993E1}" type="presParOf" srcId="{14D9A3C6-F86E-4B1C-B3DC-EF811BD93136}" destId="{49C0666A-722E-47A8-9B45-0837C0D2B16C}" srcOrd="7" destOrd="0" presId="urn:microsoft.com/office/officeart/2005/8/layout/hChevron3"/>
    <dgm:cxn modelId="{91B0B0BE-3A2F-488D-9522-5BB51C31F2C0}" type="presParOf" srcId="{14D9A3C6-F86E-4B1C-B3DC-EF811BD93136}" destId="{DC7D6C2B-8989-4A96-A5F1-47388ADF9EC1}" srcOrd="8" destOrd="0" presId="urn:microsoft.com/office/officeart/2005/8/layout/hChevron3"/>
    <dgm:cxn modelId="{D0623069-FC0F-4936-8E63-B1366C933E8F}" type="presParOf" srcId="{14D9A3C6-F86E-4B1C-B3DC-EF811BD93136}" destId="{F9A092C4-7833-4F64-9613-C7EEC0C52F73}" srcOrd="9" destOrd="0" presId="urn:microsoft.com/office/officeart/2005/8/layout/hChevron3"/>
    <dgm:cxn modelId="{A5D46724-A569-413E-A8EF-345C999AC63C}" type="presParOf" srcId="{14D9A3C6-F86E-4B1C-B3DC-EF811BD93136}" destId="{BC07D374-AEA8-4E61-90E0-748AFF1C3C36}" srcOrd="10" destOrd="0" presId="urn:microsoft.com/office/officeart/2005/8/layout/hChevron3"/>
    <dgm:cxn modelId="{AD585385-AB05-453D-B7E7-448196162F61}" type="presParOf" srcId="{14D9A3C6-F86E-4B1C-B3DC-EF811BD93136}" destId="{64A0CE05-D008-4990-95D5-DF954698B5F7}" srcOrd="11" destOrd="0" presId="urn:microsoft.com/office/officeart/2005/8/layout/hChevron3"/>
    <dgm:cxn modelId="{5781604A-BD60-48A5-9DCE-241B21582EC1}" type="presParOf" srcId="{14D9A3C6-F86E-4B1C-B3DC-EF811BD93136}" destId="{A7AD6082-1FEF-4D6C-99DB-FFE5FF66F778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841F7C-A575-4C48-88AC-A1D120F4F64F}">
      <dsp:nvSpPr>
        <dsp:cNvPr id="0" name=""/>
        <dsp:cNvSpPr/>
      </dsp:nvSpPr>
      <dsp:spPr>
        <a:xfrm>
          <a:off x="0" y="121768"/>
          <a:ext cx="1367833" cy="547133"/>
        </a:xfrm>
        <a:prstGeom prst="homePlate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2672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>
              <a:solidFill>
                <a:schemeClr val="tx1"/>
              </a:solidFill>
            </a:rPr>
            <a:t>12-8 </a:t>
          </a:r>
          <a:r>
            <a:rPr lang="zh-CN" altLang="en-US" sz="800" kern="1200" dirty="0" smtClean="0">
              <a:solidFill>
                <a:schemeClr val="tx1"/>
              </a:solidFill>
            </a:rPr>
            <a:t>新建工程，部署开发环境</a:t>
          </a:r>
          <a:endParaRPr lang="zh-CN" altLang="en-US" sz="800" kern="1200" dirty="0">
            <a:solidFill>
              <a:schemeClr val="tx1"/>
            </a:solidFill>
          </a:endParaRPr>
        </a:p>
      </dsp:txBody>
      <dsp:txXfrm>
        <a:off x="0" y="121768"/>
        <a:ext cx="1231050" cy="547133"/>
      </dsp:txXfrm>
    </dsp:sp>
    <dsp:sp modelId="{AC0344F8-449B-4D87-AB25-3635110915E4}">
      <dsp:nvSpPr>
        <dsp:cNvPr id="0" name=""/>
        <dsp:cNvSpPr/>
      </dsp:nvSpPr>
      <dsp:spPr>
        <a:xfrm>
          <a:off x="1095428" y="126511"/>
          <a:ext cx="1367833" cy="547133"/>
        </a:xfrm>
        <a:prstGeom prst="chevron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>
              <a:solidFill>
                <a:schemeClr val="tx1"/>
              </a:solidFill>
            </a:rPr>
            <a:t>12-12 </a:t>
          </a:r>
          <a:r>
            <a:rPr lang="zh-CN" altLang="en-US" sz="800" kern="1200" dirty="0" smtClean="0">
              <a:solidFill>
                <a:schemeClr val="tx1"/>
              </a:solidFill>
            </a:rPr>
            <a:t>新建数据库</a:t>
          </a:r>
          <a:r>
            <a:rPr lang="en-US" altLang="zh-CN" sz="800" kern="1200" dirty="0" smtClean="0">
              <a:solidFill>
                <a:schemeClr val="tx1"/>
              </a:solidFill>
            </a:rPr>
            <a:t>-</a:t>
          </a:r>
          <a:r>
            <a:rPr lang="zh-CN" altLang="en-US" sz="800" kern="1200" dirty="0" smtClean="0">
              <a:solidFill>
                <a:schemeClr val="tx1"/>
              </a:solidFill>
            </a:rPr>
            <a:t>数据表</a:t>
          </a:r>
          <a:endParaRPr lang="zh-CN" altLang="en-US" sz="800" kern="1200" dirty="0">
            <a:solidFill>
              <a:schemeClr val="tx1"/>
            </a:solidFill>
          </a:endParaRPr>
        </a:p>
      </dsp:txBody>
      <dsp:txXfrm>
        <a:off x="1368995" y="126511"/>
        <a:ext cx="820700" cy="547133"/>
      </dsp:txXfrm>
    </dsp:sp>
    <dsp:sp modelId="{F5473F6F-4ABD-4554-B364-2B33038D5963}">
      <dsp:nvSpPr>
        <dsp:cNvPr id="0" name=""/>
        <dsp:cNvSpPr/>
      </dsp:nvSpPr>
      <dsp:spPr>
        <a:xfrm>
          <a:off x="2189695" y="126511"/>
          <a:ext cx="1367833" cy="547133"/>
        </a:xfrm>
        <a:prstGeom prst="chevron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>
              <a:solidFill>
                <a:schemeClr val="tx1"/>
              </a:solidFill>
            </a:rPr>
            <a:t>12-14 </a:t>
          </a:r>
          <a:r>
            <a:rPr lang="zh-CN" altLang="en-US" sz="800" kern="1200" dirty="0" smtClean="0">
              <a:solidFill>
                <a:schemeClr val="tx1"/>
              </a:solidFill>
            </a:rPr>
            <a:t>最后一次确认开发逻辑</a:t>
          </a:r>
          <a:endParaRPr lang="zh-CN" altLang="en-US" sz="800" kern="1200" dirty="0">
            <a:solidFill>
              <a:schemeClr val="tx1"/>
            </a:solidFill>
          </a:endParaRPr>
        </a:p>
      </dsp:txBody>
      <dsp:txXfrm>
        <a:off x="2463262" y="126511"/>
        <a:ext cx="820700" cy="547133"/>
      </dsp:txXfrm>
    </dsp:sp>
    <dsp:sp modelId="{6D4FE7FC-B58B-40BB-9878-D5B0809FB1E6}">
      <dsp:nvSpPr>
        <dsp:cNvPr id="0" name=""/>
        <dsp:cNvSpPr/>
      </dsp:nvSpPr>
      <dsp:spPr>
        <a:xfrm>
          <a:off x="3283961" y="126511"/>
          <a:ext cx="1367833" cy="547133"/>
        </a:xfrm>
        <a:prstGeom prst="chevron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>
              <a:solidFill>
                <a:schemeClr val="tx1"/>
              </a:solidFill>
            </a:rPr>
            <a:t>01-13 </a:t>
          </a:r>
          <a:r>
            <a:rPr lang="zh-CN" altLang="en-US" sz="800" kern="1200" dirty="0" smtClean="0">
              <a:solidFill>
                <a:schemeClr val="tx1"/>
              </a:solidFill>
            </a:rPr>
            <a:t>物料组</a:t>
          </a:r>
          <a:r>
            <a:rPr lang="en-US" altLang="zh-CN" sz="800" kern="1200" dirty="0" smtClean="0">
              <a:solidFill>
                <a:schemeClr val="tx1"/>
              </a:solidFill>
            </a:rPr>
            <a:t>&amp;CFC FAE </a:t>
          </a:r>
          <a:r>
            <a:rPr lang="en-US" altLang="zh-CN" sz="800" u="none" kern="1200" dirty="0" smtClean="0">
              <a:solidFill>
                <a:schemeClr val="tx1"/>
              </a:solidFill>
            </a:rPr>
            <a:t>Client</a:t>
          </a:r>
          <a:endParaRPr lang="zh-CN" altLang="en-US" sz="800" u="none" kern="1200" dirty="0">
            <a:solidFill>
              <a:schemeClr val="tx1"/>
            </a:solidFill>
          </a:endParaRPr>
        </a:p>
      </dsp:txBody>
      <dsp:txXfrm>
        <a:off x="3557528" y="126511"/>
        <a:ext cx="820700" cy="547133"/>
      </dsp:txXfrm>
    </dsp:sp>
    <dsp:sp modelId="{DC7D6C2B-8989-4A96-A5F1-47388ADF9EC1}">
      <dsp:nvSpPr>
        <dsp:cNvPr id="0" name=""/>
        <dsp:cNvSpPr/>
      </dsp:nvSpPr>
      <dsp:spPr>
        <a:xfrm>
          <a:off x="4378228" y="126511"/>
          <a:ext cx="1367833" cy="547133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/>
            <a:t>01-21 </a:t>
          </a:r>
          <a:r>
            <a:rPr lang="en-US" altLang="zh-CN" sz="800" kern="1200" dirty="0" smtClean="0"/>
            <a:t>SD BU ME/BE ME Client</a:t>
          </a:r>
          <a:endParaRPr lang="zh-CN" altLang="en-US" sz="800" kern="1200" dirty="0"/>
        </a:p>
      </dsp:txBody>
      <dsp:txXfrm>
        <a:off x="4651795" y="126511"/>
        <a:ext cx="820700" cy="547133"/>
      </dsp:txXfrm>
    </dsp:sp>
    <dsp:sp modelId="{BC07D374-AEA8-4E61-90E0-748AFF1C3C36}">
      <dsp:nvSpPr>
        <dsp:cNvPr id="0" name=""/>
        <dsp:cNvSpPr/>
      </dsp:nvSpPr>
      <dsp:spPr>
        <a:xfrm>
          <a:off x="5472494" y="126511"/>
          <a:ext cx="1367833" cy="547133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/>
            <a:t>01-28 </a:t>
          </a:r>
          <a:r>
            <a:rPr lang="zh-CN" altLang="en-US" sz="800" kern="1200" dirty="0" smtClean="0"/>
            <a:t>大数据系统流程管理模块</a:t>
          </a:r>
          <a:endParaRPr lang="zh-CN" altLang="en-US" sz="800" kern="1200" dirty="0"/>
        </a:p>
      </dsp:txBody>
      <dsp:txXfrm>
        <a:off x="5746061" y="126511"/>
        <a:ext cx="820700" cy="547133"/>
      </dsp:txXfrm>
    </dsp:sp>
    <dsp:sp modelId="{A7AD6082-1FEF-4D6C-99DB-FFE5FF66F778}">
      <dsp:nvSpPr>
        <dsp:cNvPr id="0" name=""/>
        <dsp:cNvSpPr/>
      </dsp:nvSpPr>
      <dsp:spPr>
        <a:xfrm>
          <a:off x="6566761" y="126511"/>
          <a:ext cx="1367833" cy="547133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2004" tIns="21336" rIns="10668" bIns="2133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 smtClean="0"/>
            <a:t>01-29 </a:t>
          </a:r>
          <a:r>
            <a:rPr lang="zh-CN" altLang="en-US" sz="800" kern="1200" dirty="0" smtClean="0"/>
            <a:t>试运行</a:t>
          </a:r>
          <a:r>
            <a:rPr lang="en-US" altLang="zh-CN" sz="800" kern="1200" dirty="0" smtClean="0"/>
            <a:t>/</a:t>
          </a:r>
          <a:r>
            <a:rPr lang="zh-CN" altLang="en-US" sz="800" kern="1200" dirty="0" smtClean="0"/>
            <a:t>优化</a:t>
          </a:r>
          <a:endParaRPr lang="zh-CN" altLang="en-US" sz="800" kern="1200" dirty="0"/>
        </a:p>
      </dsp:txBody>
      <dsp:txXfrm>
        <a:off x="6840328" y="126511"/>
        <a:ext cx="820700" cy="5471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933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0878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929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924800"/>
            <a:ext cx="4397200" cy="10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70543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328531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486519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249537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407525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9821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motorola" preserve="1">
  <p:cSld name="7_motorola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C452AB0-435A-4B1E-BD81-6A41BFC8D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27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" name="Google Shape;106;p23"/>
          <p:cNvPicPr preferRelativeResize="0"/>
          <p:nvPr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3"/>
          <p:cNvSpPr/>
          <p:nvPr/>
        </p:nvSpPr>
        <p:spPr>
          <a:xfrm>
            <a:off x="-1" y="0"/>
            <a:ext cx="1022385" cy="944880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9" name="Google Shape;109;p2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980667" y="2378969"/>
            <a:ext cx="6230667" cy="2100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9596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hank you" preserve="1">
  <p:cSld name="ThankyouLenovo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858ECD-B995-4425-B91D-E1ED09149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504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803AD8F9-4B29-4EF4-90D3-9853175C7730}"/>
              </a:ext>
            </a:extLst>
          </p:cNvPr>
          <p:cNvGrpSpPr/>
          <p:nvPr userDrawn="1"/>
        </p:nvGrpSpPr>
        <p:grpSpPr>
          <a:xfrm rot="16200000">
            <a:off x="654817" y="2655660"/>
            <a:ext cx="6856214" cy="1544890"/>
            <a:chOff x="541049" y="2649538"/>
            <a:chExt cx="9285724" cy="2092325"/>
          </a:xfrm>
          <a:solidFill>
            <a:schemeClr val="tx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48ADA314-D4B2-4E51-9763-616418C468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1049" y="2809876"/>
              <a:ext cx="963613" cy="1928813"/>
            </a:xfrm>
            <a:custGeom>
              <a:avLst/>
              <a:gdLst>
                <a:gd name="T0" fmla="*/ 57 w 301"/>
                <a:gd name="T1" fmla="*/ 458 h 600"/>
                <a:gd name="T2" fmla="*/ 57 w 301"/>
                <a:gd name="T3" fmla="*/ 235 h 600"/>
                <a:gd name="T4" fmla="*/ 0 w 301"/>
                <a:gd name="T5" fmla="*/ 235 h 600"/>
                <a:gd name="T6" fmla="*/ 0 w 301"/>
                <a:gd name="T7" fmla="*/ 121 h 600"/>
                <a:gd name="T8" fmla="*/ 57 w 301"/>
                <a:gd name="T9" fmla="*/ 121 h 600"/>
                <a:gd name="T10" fmla="*/ 57 w 301"/>
                <a:gd name="T11" fmla="*/ 0 h 600"/>
                <a:gd name="T12" fmla="*/ 190 w 301"/>
                <a:gd name="T13" fmla="*/ 0 h 600"/>
                <a:gd name="T14" fmla="*/ 190 w 301"/>
                <a:gd name="T15" fmla="*/ 121 h 600"/>
                <a:gd name="T16" fmla="*/ 301 w 301"/>
                <a:gd name="T17" fmla="*/ 121 h 600"/>
                <a:gd name="T18" fmla="*/ 301 w 301"/>
                <a:gd name="T19" fmla="*/ 235 h 600"/>
                <a:gd name="T20" fmla="*/ 190 w 301"/>
                <a:gd name="T21" fmla="*/ 235 h 600"/>
                <a:gd name="T22" fmla="*/ 190 w 301"/>
                <a:gd name="T23" fmla="*/ 436 h 600"/>
                <a:gd name="T24" fmla="*/ 233 w 301"/>
                <a:gd name="T25" fmla="*/ 482 h 600"/>
                <a:gd name="T26" fmla="*/ 299 w 301"/>
                <a:gd name="T27" fmla="*/ 465 h 600"/>
                <a:gd name="T28" fmla="*/ 299 w 301"/>
                <a:gd name="T29" fmla="*/ 573 h 600"/>
                <a:gd name="T30" fmla="*/ 194 w 301"/>
                <a:gd name="T31" fmla="*/ 600 h 600"/>
                <a:gd name="T32" fmla="*/ 57 w 301"/>
                <a:gd name="T33" fmla="*/ 45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1" h="600">
                  <a:moveTo>
                    <a:pt x="57" y="458"/>
                  </a:moveTo>
                  <a:cubicBezTo>
                    <a:pt x="57" y="235"/>
                    <a:pt x="57" y="235"/>
                    <a:pt x="57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301" y="121"/>
                    <a:pt x="301" y="121"/>
                    <a:pt x="301" y="121"/>
                  </a:cubicBezTo>
                  <a:cubicBezTo>
                    <a:pt x="301" y="235"/>
                    <a:pt x="301" y="235"/>
                    <a:pt x="301" y="235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436"/>
                    <a:pt x="190" y="436"/>
                    <a:pt x="190" y="436"/>
                  </a:cubicBezTo>
                  <a:cubicBezTo>
                    <a:pt x="190" y="467"/>
                    <a:pt x="203" y="482"/>
                    <a:pt x="233" y="482"/>
                  </a:cubicBezTo>
                  <a:cubicBezTo>
                    <a:pt x="258" y="482"/>
                    <a:pt x="280" y="476"/>
                    <a:pt x="299" y="465"/>
                  </a:cubicBezTo>
                  <a:cubicBezTo>
                    <a:pt x="299" y="573"/>
                    <a:pt x="299" y="573"/>
                    <a:pt x="299" y="573"/>
                  </a:cubicBezTo>
                  <a:cubicBezTo>
                    <a:pt x="271" y="590"/>
                    <a:pt x="239" y="600"/>
                    <a:pt x="194" y="600"/>
                  </a:cubicBezTo>
                  <a:cubicBezTo>
                    <a:pt x="112" y="600"/>
                    <a:pt x="57" y="568"/>
                    <a:pt x="57" y="4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44A1CE32-105B-489A-A343-10350524EA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8151" y="2649538"/>
              <a:ext cx="1382713" cy="2063750"/>
            </a:xfrm>
            <a:custGeom>
              <a:avLst/>
              <a:gdLst>
                <a:gd name="T0" fmla="*/ 0 w 432"/>
                <a:gd name="T1" fmla="*/ 0 h 642"/>
                <a:gd name="T2" fmla="*/ 134 w 432"/>
                <a:gd name="T3" fmla="*/ 0 h 642"/>
                <a:gd name="T4" fmla="*/ 134 w 432"/>
                <a:gd name="T5" fmla="*/ 237 h 642"/>
                <a:gd name="T6" fmla="*/ 272 w 432"/>
                <a:gd name="T7" fmla="*/ 162 h 642"/>
                <a:gd name="T8" fmla="*/ 432 w 432"/>
                <a:gd name="T9" fmla="*/ 337 h 642"/>
                <a:gd name="T10" fmla="*/ 432 w 432"/>
                <a:gd name="T11" fmla="*/ 642 h 642"/>
                <a:gd name="T12" fmla="*/ 298 w 432"/>
                <a:gd name="T13" fmla="*/ 642 h 642"/>
                <a:gd name="T14" fmla="*/ 298 w 432"/>
                <a:gd name="T15" fmla="*/ 379 h 642"/>
                <a:gd name="T16" fmla="*/ 218 w 432"/>
                <a:gd name="T17" fmla="*/ 283 h 642"/>
                <a:gd name="T18" fmla="*/ 134 w 432"/>
                <a:gd name="T19" fmla="*/ 379 h 642"/>
                <a:gd name="T20" fmla="*/ 134 w 432"/>
                <a:gd name="T21" fmla="*/ 642 h 642"/>
                <a:gd name="T22" fmla="*/ 0 w 432"/>
                <a:gd name="T23" fmla="*/ 642 h 642"/>
                <a:gd name="T24" fmla="*/ 0 w 432"/>
                <a:gd name="T25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642">
                  <a:moveTo>
                    <a:pt x="0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237"/>
                    <a:pt x="134" y="237"/>
                    <a:pt x="134" y="237"/>
                  </a:cubicBezTo>
                  <a:cubicBezTo>
                    <a:pt x="165" y="198"/>
                    <a:pt x="204" y="162"/>
                    <a:pt x="272" y="162"/>
                  </a:cubicBezTo>
                  <a:cubicBezTo>
                    <a:pt x="373" y="162"/>
                    <a:pt x="432" y="229"/>
                    <a:pt x="432" y="337"/>
                  </a:cubicBezTo>
                  <a:cubicBezTo>
                    <a:pt x="432" y="642"/>
                    <a:pt x="432" y="642"/>
                    <a:pt x="432" y="642"/>
                  </a:cubicBezTo>
                  <a:cubicBezTo>
                    <a:pt x="298" y="642"/>
                    <a:pt x="298" y="642"/>
                    <a:pt x="298" y="642"/>
                  </a:cubicBezTo>
                  <a:cubicBezTo>
                    <a:pt x="298" y="379"/>
                    <a:pt x="298" y="379"/>
                    <a:pt x="298" y="379"/>
                  </a:cubicBezTo>
                  <a:cubicBezTo>
                    <a:pt x="298" y="316"/>
                    <a:pt x="269" y="283"/>
                    <a:pt x="218" y="283"/>
                  </a:cubicBezTo>
                  <a:cubicBezTo>
                    <a:pt x="166" y="283"/>
                    <a:pt x="134" y="316"/>
                    <a:pt x="134" y="379"/>
                  </a:cubicBezTo>
                  <a:cubicBezTo>
                    <a:pt x="134" y="642"/>
                    <a:pt x="134" y="642"/>
                    <a:pt x="134" y="642"/>
                  </a:cubicBezTo>
                  <a:cubicBezTo>
                    <a:pt x="0" y="642"/>
                    <a:pt x="0" y="642"/>
                    <a:pt x="0" y="64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E27773B-9339-470D-8D61-75FC254526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1304" y="3179763"/>
              <a:ext cx="1390650" cy="1562100"/>
            </a:xfrm>
            <a:custGeom>
              <a:avLst/>
              <a:gdLst>
                <a:gd name="T0" fmla="*/ 0 w 434"/>
                <a:gd name="T1" fmla="*/ 342 h 486"/>
                <a:gd name="T2" fmla="*/ 0 w 434"/>
                <a:gd name="T3" fmla="*/ 340 h 486"/>
                <a:gd name="T4" fmla="*/ 190 w 434"/>
                <a:gd name="T5" fmla="*/ 189 h 486"/>
                <a:gd name="T6" fmla="*/ 305 w 434"/>
                <a:gd name="T7" fmla="*/ 209 h 486"/>
                <a:gd name="T8" fmla="*/ 305 w 434"/>
                <a:gd name="T9" fmla="*/ 201 h 486"/>
                <a:gd name="T10" fmla="*/ 204 w 434"/>
                <a:gd name="T11" fmla="*/ 115 h 486"/>
                <a:gd name="T12" fmla="*/ 74 w 434"/>
                <a:gd name="T13" fmla="*/ 140 h 486"/>
                <a:gd name="T14" fmla="*/ 40 w 434"/>
                <a:gd name="T15" fmla="*/ 38 h 486"/>
                <a:gd name="T16" fmla="*/ 223 w 434"/>
                <a:gd name="T17" fmla="*/ 0 h 486"/>
                <a:gd name="T18" fmla="*/ 383 w 434"/>
                <a:gd name="T19" fmla="*/ 53 h 486"/>
                <a:gd name="T20" fmla="*/ 434 w 434"/>
                <a:gd name="T21" fmla="*/ 204 h 486"/>
                <a:gd name="T22" fmla="*/ 434 w 434"/>
                <a:gd name="T23" fmla="*/ 477 h 486"/>
                <a:gd name="T24" fmla="*/ 304 w 434"/>
                <a:gd name="T25" fmla="*/ 477 h 486"/>
                <a:gd name="T26" fmla="*/ 304 w 434"/>
                <a:gd name="T27" fmla="*/ 426 h 486"/>
                <a:gd name="T28" fmla="*/ 162 w 434"/>
                <a:gd name="T29" fmla="*/ 486 h 486"/>
                <a:gd name="T30" fmla="*/ 0 w 434"/>
                <a:gd name="T31" fmla="*/ 342 h 486"/>
                <a:gd name="T32" fmla="*/ 307 w 434"/>
                <a:gd name="T33" fmla="*/ 311 h 486"/>
                <a:gd name="T34" fmla="*/ 307 w 434"/>
                <a:gd name="T35" fmla="*/ 287 h 486"/>
                <a:gd name="T36" fmla="*/ 222 w 434"/>
                <a:gd name="T37" fmla="*/ 270 h 486"/>
                <a:gd name="T38" fmla="*/ 129 w 434"/>
                <a:gd name="T39" fmla="*/ 335 h 486"/>
                <a:gd name="T40" fmla="*/ 129 w 434"/>
                <a:gd name="T41" fmla="*/ 336 h 486"/>
                <a:gd name="T42" fmla="*/ 202 w 434"/>
                <a:gd name="T43" fmla="*/ 394 h 486"/>
                <a:gd name="T44" fmla="*/ 307 w 434"/>
                <a:gd name="T45" fmla="*/ 31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4" h="486">
                  <a:moveTo>
                    <a:pt x="0" y="342"/>
                  </a:moveTo>
                  <a:cubicBezTo>
                    <a:pt x="0" y="340"/>
                    <a:pt x="0" y="340"/>
                    <a:pt x="0" y="340"/>
                  </a:cubicBezTo>
                  <a:cubicBezTo>
                    <a:pt x="0" y="237"/>
                    <a:pt x="78" y="189"/>
                    <a:pt x="190" y="189"/>
                  </a:cubicBezTo>
                  <a:cubicBezTo>
                    <a:pt x="237" y="189"/>
                    <a:pt x="272" y="197"/>
                    <a:pt x="305" y="209"/>
                  </a:cubicBezTo>
                  <a:cubicBezTo>
                    <a:pt x="305" y="201"/>
                    <a:pt x="305" y="201"/>
                    <a:pt x="305" y="201"/>
                  </a:cubicBezTo>
                  <a:cubicBezTo>
                    <a:pt x="305" y="145"/>
                    <a:pt x="271" y="115"/>
                    <a:pt x="204" y="115"/>
                  </a:cubicBezTo>
                  <a:cubicBezTo>
                    <a:pt x="153" y="115"/>
                    <a:pt x="117" y="124"/>
                    <a:pt x="74" y="140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92" y="15"/>
                    <a:pt x="143" y="0"/>
                    <a:pt x="223" y="0"/>
                  </a:cubicBezTo>
                  <a:cubicBezTo>
                    <a:pt x="296" y="0"/>
                    <a:pt x="349" y="20"/>
                    <a:pt x="383" y="53"/>
                  </a:cubicBezTo>
                  <a:cubicBezTo>
                    <a:pt x="418" y="88"/>
                    <a:pt x="434" y="140"/>
                    <a:pt x="434" y="204"/>
                  </a:cubicBezTo>
                  <a:cubicBezTo>
                    <a:pt x="434" y="477"/>
                    <a:pt x="434" y="477"/>
                    <a:pt x="434" y="477"/>
                  </a:cubicBezTo>
                  <a:cubicBezTo>
                    <a:pt x="304" y="477"/>
                    <a:pt x="304" y="477"/>
                    <a:pt x="304" y="477"/>
                  </a:cubicBezTo>
                  <a:cubicBezTo>
                    <a:pt x="304" y="426"/>
                    <a:pt x="304" y="426"/>
                    <a:pt x="304" y="426"/>
                  </a:cubicBezTo>
                  <a:cubicBezTo>
                    <a:pt x="272" y="462"/>
                    <a:pt x="227" y="486"/>
                    <a:pt x="162" y="486"/>
                  </a:cubicBezTo>
                  <a:cubicBezTo>
                    <a:pt x="73" y="486"/>
                    <a:pt x="0" y="435"/>
                    <a:pt x="0" y="342"/>
                  </a:cubicBezTo>
                  <a:close/>
                  <a:moveTo>
                    <a:pt x="307" y="311"/>
                  </a:moveTo>
                  <a:cubicBezTo>
                    <a:pt x="307" y="287"/>
                    <a:pt x="307" y="287"/>
                    <a:pt x="307" y="287"/>
                  </a:cubicBezTo>
                  <a:cubicBezTo>
                    <a:pt x="284" y="277"/>
                    <a:pt x="254" y="270"/>
                    <a:pt x="222" y="270"/>
                  </a:cubicBezTo>
                  <a:cubicBezTo>
                    <a:pt x="164" y="270"/>
                    <a:pt x="129" y="292"/>
                    <a:pt x="129" y="335"/>
                  </a:cubicBezTo>
                  <a:cubicBezTo>
                    <a:pt x="129" y="336"/>
                    <a:pt x="129" y="336"/>
                    <a:pt x="129" y="336"/>
                  </a:cubicBezTo>
                  <a:cubicBezTo>
                    <a:pt x="129" y="372"/>
                    <a:pt x="159" y="394"/>
                    <a:pt x="202" y="394"/>
                  </a:cubicBezTo>
                  <a:cubicBezTo>
                    <a:pt x="265" y="394"/>
                    <a:pt x="307" y="359"/>
                    <a:pt x="307" y="3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A4801EB-9990-4354-A88F-572DEE942A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9916" y="3170238"/>
              <a:ext cx="1384300" cy="1543050"/>
            </a:xfrm>
            <a:custGeom>
              <a:avLst/>
              <a:gdLst>
                <a:gd name="T0" fmla="*/ 0 w 432"/>
                <a:gd name="T1" fmla="*/ 9 h 480"/>
                <a:gd name="T2" fmla="*/ 133 w 432"/>
                <a:gd name="T3" fmla="*/ 9 h 480"/>
                <a:gd name="T4" fmla="*/ 133 w 432"/>
                <a:gd name="T5" fmla="*/ 75 h 480"/>
                <a:gd name="T6" fmla="*/ 272 w 432"/>
                <a:gd name="T7" fmla="*/ 0 h 480"/>
                <a:gd name="T8" fmla="*/ 432 w 432"/>
                <a:gd name="T9" fmla="*/ 175 h 480"/>
                <a:gd name="T10" fmla="*/ 432 w 432"/>
                <a:gd name="T11" fmla="*/ 480 h 480"/>
                <a:gd name="T12" fmla="*/ 298 w 432"/>
                <a:gd name="T13" fmla="*/ 480 h 480"/>
                <a:gd name="T14" fmla="*/ 298 w 432"/>
                <a:gd name="T15" fmla="*/ 217 h 480"/>
                <a:gd name="T16" fmla="*/ 217 w 432"/>
                <a:gd name="T17" fmla="*/ 121 h 480"/>
                <a:gd name="T18" fmla="*/ 133 w 432"/>
                <a:gd name="T19" fmla="*/ 217 h 480"/>
                <a:gd name="T20" fmla="*/ 133 w 432"/>
                <a:gd name="T21" fmla="*/ 480 h 480"/>
                <a:gd name="T22" fmla="*/ 0 w 432"/>
                <a:gd name="T23" fmla="*/ 480 h 480"/>
                <a:gd name="T24" fmla="*/ 0 w 432"/>
                <a:gd name="T25" fmla="*/ 9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480">
                  <a:moveTo>
                    <a:pt x="0" y="9"/>
                  </a:moveTo>
                  <a:cubicBezTo>
                    <a:pt x="133" y="9"/>
                    <a:pt x="133" y="9"/>
                    <a:pt x="133" y="9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64" y="36"/>
                    <a:pt x="204" y="0"/>
                    <a:pt x="272" y="0"/>
                  </a:cubicBezTo>
                  <a:cubicBezTo>
                    <a:pt x="373" y="0"/>
                    <a:pt x="432" y="67"/>
                    <a:pt x="432" y="175"/>
                  </a:cubicBezTo>
                  <a:cubicBezTo>
                    <a:pt x="432" y="480"/>
                    <a:pt x="432" y="480"/>
                    <a:pt x="432" y="480"/>
                  </a:cubicBezTo>
                  <a:cubicBezTo>
                    <a:pt x="298" y="480"/>
                    <a:pt x="298" y="480"/>
                    <a:pt x="298" y="480"/>
                  </a:cubicBezTo>
                  <a:cubicBezTo>
                    <a:pt x="298" y="217"/>
                    <a:pt x="298" y="217"/>
                    <a:pt x="298" y="217"/>
                  </a:cubicBezTo>
                  <a:cubicBezTo>
                    <a:pt x="298" y="154"/>
                    <a:pt x="268" y="121"/>
                    <a:pt x="217" y="121"/>
                  </a:cubicBezTo>
                  <a:cubicBezTo>
                    <a:pt x="166" y="121"/>
                    <a:pt x="133" y="154"/>
                    <a:pt x="133" y="217"/>
                  </a:cubicBezTo>
                  <a:cubicBezTo>
                    <a:pt x="133" y="480"/>
                    <a:pt x="133" y="480"/>
                    <a:pt x="133" y="480"/>
                  </a:cubicBezTo>
                  <a:cubicBezTo>
                    <a:pt x="0" y="480"/>
                    <a:pt x="0" y="480"/>
                    <a:pt x="0" y="48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51864A91-331E-49CC-B1C1-6A3AECDE1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36593" y="2649538"/>
              <a:ext cx="1460500" cy="2063750"/>
            </a:xfrm>
            <a:custGeom>
              <a:avLst/>
              <a:gdLst>
                <a:gd name="T0" fmla="*/ 0 w 920"/>
                <a:gd name="T1" fmla="*/ 0 h 1300"/>
                <a:gd name="T2" fmla="*/ 270 w 920"/>
                <a:gd name="T3" fmla="*/ 0 h 1300"/>
                <a:gd name="T4" fmla="*/ 270 w 920"/>
                <a:gd name="T5" fmla="*/ 692 h 1300"/>
                <a:gd name="T6" fmla="*/ 585 w 920"/>
                <a:gd name="T7" fmla="*/ 346 h 1300"/>
                <a:gd name="T8" fmla="*/ 908 w 920"/>
                <a:gd name="T9" fmla="*/ 346 h 1300"/>
                <a:gd name="T10" fmla="*/ 547 w 920"/>
                <a:gd name="T11" fmla="*/ 721 h 1300"/>
                <a:gd name="T12" fmla="*/ 920 w 920"/>
                <a:gd name="T13" fmla="*/ 1300 h 1300"/>
                <a:gd name="T14" fmla="*/ 609 w 920"/>
                <a:gd name="T15" fmla="*/ 1300 h 1300"/>
                <a:gd name="T16" fmla="*/ 365 w 920"/>
                <a:gd name="T17" fmla="*/ 909 h 1300"/>
                <a:gd name="T18" fmla="*/ 270 w 920"/>
                <a:gd name="T19" fmla="*/ 1010 h 1300"/>
                <a:gd name="T20" fmla="*/ 270 w 920"/>
                <a:gd name="T21" fmla="*/ 1300 h 1300"/>
                <a:gd name="T22" fmla="*/ 0 w 920"/>
                <a:gd name="T23" fmla="*/ 1300 h 1300"/>
                <a:gd name="T24" fmla="*/ 0 w 920"/>
                <a:gd name="T25" fmla="*/ 0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0" h="1300">
                  <a:moveTo>
                    <a:pt x="0" y="0"/>
                  </a:moveTo>
                  <a:lnTo>
                    <a:pt x="270" y="0"/>
                  </a:lnTo>
                  <a:lnTo>
                    <a:pt x="270" y="692"/>
                  </a:lnTo>
                  <a:lnTo>
                    <a:pt x="585" y="346"/>
                  </a:lnTo>
                  <a:lnTo>
                    <a:pt x="908" y="346"/>
                  </a:lnTo>
                  <a:lnTo>
                    <a:pt x="547" y="721"/>
                  </a:lnTo>
                  <a:lnTo>
                    <a:pt x="920" y="1300"/>
                  </a:lnTo>
                  <a:lnTo>
                    <a:pt x="609" y="1300"/>
                  </a:lnTo>
                  <a:lnTo>
                    <a:pt x="365" y="909"/>
                  </a:lnTo>
                  <a:lnTo>
                    <a:pt x="270" y="1010"/>
                  </a:lnTo>
                  <a:lnTo>
                    <a:pt x="270" y="1300"/>
                  </a:lnTo>
                  <a:lnTo>
                    <a:pt x="0" y="13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9FEDB68F-643E-4836-AEB4-50009A0DB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9896" y="3173413"/>
              <a:ext cx="1227138" cy="1568450"/>
            </a:xfrm>
            <a:custGeom>
              <a:avLst/>
              <a:gdLst>
                <a:gd name="T0" fmla="*/ 0 w 383"/>
                <a:gd name="T1" fmla="*/ 417 h 488"/>
                <a:gd name="T2" fmla="*/ 57 w 383"/>
                <a:gd name="T3" fmla="*/ 329 h 488"/>
                <a:gd name="T4" fmla="*/ 206 w 383"/>
                <a:gd name="T5" fmla="*/ 385 h 488"/>
                <a:gd name="T6" fmla="*/ 262 w 383"/>
                <a:gd name="T7" fmla="*/ 350 h 488"/>
                <a:gd name="T8" fmla="*/ 262 w 383"/>
                <a:gd name="T9" fmla="*/ 348 h 488"/>
                <a:gd name="T10" fmla="*/ 165 w 383"/>
                <a:gd name="T11" fmla="*/ 294 h 488"/>
                <a:gd name="T12" fmla="*/ 24 w 383"/>
                <a:gd name="T13" fmla="*/ 152 h 488"/>
                <a:gd name="T14" fmla="*/ 24 w 383"/>
                <a:gd name="T15" fmla="*/ 150 h 488"/>
                <a:gd name="T16" fmla="*/ 196 w 383"/>
                <a:gd name="T17" fmla="*/ 0 h 488"/>
                <a:gd name="T18" fmla="*/ 372 w 383"/>
                <a:gd name="T19" fmla="*/ 55 h 488"/>
                <a:gd name="T20" fmla="*/ 321 w 383"/>
                <a:gd name="T21" fmla="*/ 147 h 488"/>
                <a:gd name="T22" fmla="*/ 194 w 383"/>
                <a:gd name="T23" fmla="*/ 103 h 488"/>
                <a:gd name="T24" fmla="*/ 144 w 383"/>
                <a:gd name="T25" fmla="*/ 136 h 488"/>
                <a:gd name="T26" fmla="*/ 144 w 383"/>
                <a:gd name="T27" fmla="*/ 138 h 488"/>
                <a:gd name="T28" fmla="*/ 240 w 383"/>
                <a:gd name="T29" fmla="*/ 194 h 488"/>
                <a:gd name="T30" fmla="*/ 383 w 383"/>
                <a:gd name="T31" fmla="*/ 334 h 488"/>
                <a:gd name="T32" fmla="*/ 383 w 383"/>
                <a:gd name="T33" fmla="*/ 336 h 488"/>
                <a:gd name="T34" fmla="*/ 203 w 383"/>
                <a:gd name="T35" fmla="*/ 488 h 488"/>
                <a:gd name="T36" fmla="*/ 0 w 383"/>
                <a:gd name="T37" fmla="*/ 417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3" h="488">
                  <a:moveTo>
                    <a:pt x="0" y="417"/>
                  </a:moveTo>
                  <a:cubicBezTo>
                    <a:pt x="57" y="329"/>
                    <a:pt x="57" y="329"/>
                    <a:pt x="57" y="329"/>
                  </a:cubicBezTo>
                  <a:cubicBezTo>
                    <a:pt x="108" y="366"/>
                    <a:pt x="162" y="385"/>
                    <a:pt x="206" y="385"/>
                  </a:cubicBezTo>
                  <a:cubicBezTo>
                    <a:pt x="245" y="385"/>
                    <a:pt x="262" y="371"/>
                    <a:pt x="262" y="350"/>
                  </a:cubicBezTo>
                  <a:cubicBezTo>
                    <a:pt x="262" y="348"/>
                    <a:pt x="262" y="348"/>
                    <a:pt x="262" y="348"/>
                  </a:cubicBezTo>
                  <a:cubicBezTo>
                    <a:pt x="262" y="319"/>
                    <a:pt x="217" y="309"/>
                    <a:pt x="165" y="294"/>
                  </a:cubicBezTo>
                  <a:cubicBezTo>
                    <a:pt x="99" y="274"/>
                    <a:pt x="24" y="243"/>
                    <a:pt x="24" y="152"/>
                  </a:cubicBezTo>
                  <a:cubicBezTo>
                    <a:pt x="24" y="150"/>
                    <a:pt x="24" y="150"/>
                    <a:pt x="24" y="150"/>
                  </a:cubicBezTo>
                  <a:cubicBezTo>
                    <a:pt x="24" y="54"/>
                    <a:pt x="101" y="0"/>
                    <a:pt x="196" y="0"/>
                  </a:cubicBezTo>
                  <a:cubicBezTo>
                    <a:pt x="256" y="0"/>
                    <a:pt x="321" y="21"/>
                    <a:pt x="372" y="55"/>
                  </a:cubicBezTo>
                  <a:cubicBezTo>
                    <a:pt x="321" y="147"/>
                    <a:pt x="321" y="147"/>
                    <a:pt x="321" y="147"/>
                  </a:cubicBezTo>
                  <a:cubicBezTo>
                    <a:pt x="275" y="120"/>
                    <a:pt x="228" y="103"/>
                    <a:pt x="194" y="103"/>
                  </a:cubicBezTo>
                  <a:cubicBezTo>
                    <a:pt x="161" y="103"/>
                    <a:pt x="144" y="118"/>
                    <a:pt x="144" y="136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64"/>
                    <a:pt x="189" y="176"/>
                    <a:pt x="240" y="194"/>
                  </a:cubicBezTo>
                  <a:cubicBezTo>
                    <a:pt x="306" y="216"/>
                    <a:pt x="383" y="248"/>
                    <a:pt x="383" y="334"/>
                  </a:cubicBezTo>
                  <a:cubicBezTo>
                    <a:pt x="383" y="336"/>
                    <a:pt x="383" y="336"/>
                    <a:pt x="383" y="336"/>
                  </a:cubicBezTo>
                  <a:cubicBezTo>
                    <a:pt x="383" y="440"/>
                    <a:pt x="305" y="488"/>
                    <a:pt x="203" y="488"/>
                  </a:cubicBezTo>
                  <a:cubicBezTo>
                    <a:pt x="137" y="488"/>
                    <a:pt x="63" y="466"/>
                    <a:pt x="0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9A0D3D09-EE04-463E-BDCF-5DF8E417F5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282260" y="4167188"/>
              <a:ext cx="544513" cy="5461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6" name="Freeform 5">
            <a:extLst>
              <a:ext uri="{FF2B5EF4-FFF2-40B4-BE49-F238E27FC236}">
                <a16:creationId xmlns:a16="http://schemas.microsoft.com/office/drawing/2014/main" id="{4FE6F758-B2EA-46D2-8948-38B93F32AD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045325" y="1676401"/>
            <a:ext cx="5145087" cy="3505200"/>
          </a:xfrm>
          <a:custGeom>
            <a:avLst/>
            <a:gdLst>
              <a:gd name="T0" fmla="*/ 717 w 2697"/>
              <a:gd name="T1" fmla="*/ 241 h 1832"/>
              <a:gd name="T2" fmla="*/ 698 w 2697"/>
              <a:gd name="T3" fmla="*/ 358 h 1832"/>
              <a:gd name="T4" fmla="*/ 755 w 2697"/>
              <a:gd name="T5" fmla="*/ 353 h 1832"/>
              <a:gd name="T6" fmla="*/ 952 w 2697"/>
              <a:gd name="T7" fmla="*/ 431 h 1832"/>
              <a:gd name="T8" fmla="*/ 1077 w 2697"/>
              <a:gd name="T9" fmla="*/ 299 h 1832"/>
              <a:gd name="T10" fmla="*/ 769 w 2697"/>
              <a:gd name="T11" fmla="*/ 229 h 1832"/>
              <a:gd name="T12" fmla="*/ 1219 w 2697"/>
              <a:gd name="T13" fmla="*/ 431 h 1832"/>
              <a:gd name="T14" fmla="*/ 1120 w 2697"/>
              <a:gd name="T15" fmla="*/ 287 h 1832"/>
              <a:gd name="T16" fmla="*/ 1089 w 2697"/>
              <a:gd name="T17" fmla="*/ 373 h 1832"/>
              <a:gd name="T18" fmla="*/ 1175 w 2697"/>
              <a:gd name="T19" fmla="*/ 395 h 1832"/>
              <a:gd name="T20" fmla="*/ 1412 w 2697"/>
              <a:gd name="T21" fmla="*/ 225 h 1832"/>
              <a:gd name="T22" fmla="*/ 1348 w 2697"/>
              <a:gd name="T23" fmla="*/ 356 h 1832"/>
              <a:gd name="T24" fmla="*/ 1505 w 2697"/>
              <a:gd name="T25" fmla="*/ 364 h 1832"/>
              <a:gd name="T26" fmla="*/ 1448 w 2697"/>
              <a:gd name="T27" fmla="*/ 177 h 1832"/>
              <a:gd name="T28" fmla="*/ 1666 w 2697"/>
              <a:gd name="T29" fmla="*/ 435 h 1832"/>
              <a:gd name="T30" fmla="*/ 1758 w 2697"/>
              <a:gd name="T31" fmla="*/ 335 h 1832"/>
              <a:gd name="T32" fmla="*/ 1703 w 2697"/>
              <a:gd name="T33" fmla="*/ 314 h 1832"/>
              <a:gd name="T34" fmla="*/ 1892 w 2697"/>
              <a:gd name="T35" fmla="*/ 225 h 1832"/>
              <a:gd name="T36" fmla="*/ 1828 w 2697"/>
              <a:gd name="T37" fmla="*/ 356 h 1832"/>
              <a:gd name="T38" fmla="*/ 24 w 2697"/>
              <a:gd name="T39" fmla="*/ 634 h 1832"/>
              <a:gd name="T40" fmla="*/ 81 w 2697"/>
              <a:gd name="T41" fmla="*/ 720 h 1832"/>
              <a:gd name="T42" fmla="*/ 237 w 2697"/>
              <a:gd name="T43" fmla="*/ 581 h 1832"/>
              <a:gd name="T44" fmla="*/ 243 w 2697"/>
              <a:gd name="T45" fmla="*/ 745 h 1832"/>
              <a:gd name="T46" fmla="*/ 237 w 2697"/>
              <a:gd name="T47" fmla="*/ 627 h 1832"/>
              <a:gd name="T48" fmla="*/ 450 w 2697"/>
              <a:gd name="T49" fmla="*/ 631 h 1832"/>
              <a:gd name="T50" fmla="*/ 449 w 2697"/>
              <a:gd name="T51" fmla="*/ 791 h 1832"/>
              <a:gd name="T52" fmla="*/ 598 w 2697"/>
              <a:gd name="T53" fmla="*/ 512 h 1832"/>
              <a:gd name="T54" fmla="*/ 669 w 2697"/>
              <a:gd name="T55" fmla="*/ 674 h 1832"/>
              <a:gd name="T56" fmla="*/ 798 w 2697"/>
              <a:gd name="T57" fmla="*/ 614 h 1832"/>
              <a:gd name="T58" fmla="*/ 833 w 2697"/>
              <a:gd name="T59" fmla="*/ 633 h 1832"/>
              <a:gd name="T60" fmla="*/ 1155 w 2697"/>
              <a:gd name="T61" fmla="*/ 686 h 1832"/>
              <a:gd name="T62" fmla="*/ 1155 w 2697"/>
              <a:gd name="T63" fmla="*/ 686 h 1832"/>
              <a:gd name="T64" fmla="*/ 1047 w 2697"/>
              <a:gd name="T65" fmla="*/ 742 h 1832"/>
              <a:gd name="T66" fmla="*/ 1167 w 2697"/>
              <a:gd name="T67" fmla="*/ 787 h 1832"/>
              <a:gd name="T68" fmla="*/ 1453 w 2697"/>
              <a:gd name="T69" fmla="*/ 686 h 1832"/>
              <a:gd name="T70" fmla="*/ 1344 w 2697"/>
              <a:gd name="T71" fmla="*/ 631 h 1832"/>
              <a:gd name="T72" fmla="*/ 1562 w 2697"/>
              <a:gd name="T73" fmla="*/ 848 h 1832"/>
              <a:gd name="T74" fmla="*/ 1552 w 2697"/>
              <a:gd name="T75" fmla="*/ 581 h 1832"/>
              <a:gd name="T76" fmla="*/ 1560 w 2697"/>
              <a:gd name="T77" fmla="*/ 802 h 1832"/>
              <a:gd name="T78" fmla="*/ 1618 w 2697"/>
              <a:gd name="T79" fmla="*/ 676 h 1832"/>
              <a:gd name="T80" fmla="*/ 1743 w 2697"/>
              <a:gd name="T81" fmla="*/ 801 h 1832"/>
              <a:gd name="T82" fmla="*/ 1834 w 2697"/>
              <a:gd name="T83" fmla="*/ 585 h 1832"/>
              <a:gd name="T84" fmla="*/ 1101 w 2697"/>
              <a:gd name="T85" fmla="*/ 940 h 1832"/>
              <a:gd name="T86" fmla="*/ 974 w 2697"/>
              <a:gd name="T87" fmla="*/ 965 h 1832"/>
              <a:gd name="T88" fmla="*/ 1101 w 2697"/>
              <a:gd name="T89" fmla="*/ 1012 h 1832"/>
              <a:gd name="T90" fmla="*/ 1318 w 2697"/>
              <a:gd name="T91" fmla="*/ 1064 h 1832"/>
              <a:gd name="T92" fmla="*/ 1156 w 2697"/>
              <a:gd name="T93" fmla="*/ 1063 h 1832"/>
              <a:gd name="T94" fmla="*/ 1332 w 2697"/>
              <a:gd name="T95" fmla="*/ 963 h 1832"/>
              <a:gd name="T96" fmla="*/ 1453 w 2697"/>
              <a:gd name="T97" fmla="*/ 959 h 1832"/>
              <a:gd name="T98" fmla="*/ 1657 w 2697"/>
              <a:gd name="T99" fmla="*/ 1046 h 1832"/>
              <a:gd name="T100" fmla="*/ 1657 w 2697"/>
              <a:gd name="T101" fmla="*/ 1143 h 1832"/>
              <a:gd name="T102" fmla="*/ 1658 w 2697"/>
              <a:gd name="T103" fmla="*/ 1094 h 1832"/>
              <a:gd name="T104" fmla="*/ 1658 w 2697"/>
              <a:gd name="T105" fmla="*/ 1094 h 1832"/>
              <a:gd name="T106" fmla="*/ 1817 w 2697"/>
              <a:gd name="T107" fmla="*/ 1165 h 1832"/>
              <a:gd name="T108" fmla="*/ 2086 w 2697"/>
              <a:gd name="T109" fmla="*/ 1832 h 1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697" h="1832">
                <a:moveTo>
                  <a:pt x="755" y="352"/>
                </a:moveTo>
                <a:cubicBezTo>
                  <a:pt x="755" y="306"/>
                  <a:pt x="725" y="287"/>
                  <a:pt x="672" y="273"/>
                </a:cubicBezTo>
                <a:cubicBezTo>
                  <a:pt x="626" y="261"/>
                  <a:pt x="615" y="256"/>
                  <a:pt x="615" y="238"/>
                </a:cubicBezTo>
                <a:cubicBezTo>
                  <a:pt x="615" y="238"/>
                  <a:pt x="615" y="238"/>
                  <a:pt x="615" y="238"/>
                </a:cubicBezTo>
                <a:cubicBezTo>
                  <a:pt x="615" y="225"/>
                  <a:pt x="626" y="215"/>
                  <a:pt x="649" y="215"/>
                </a:cubicBezTo>
                <a:cubicBezTo>
                  <a:pt x="671" y="215"/>
                  <a:pt x="694" y="224"/>
                  <a:pt x="717" y="241"/>
                </a:cubicBezTo>
                <a:cubicBezTo>
                  <a:pt x="747" y="197"/>
                  <a:pt x="747" y="197"/>
                  <a:pt x="747" y="197"/>
                </a:cubicBezTo>
                <a:cubicBezTo>
                  <a:pt x="720" y="175"/>
                  <a:pt x="688" y="163"/>
                  <a:pt x="649" y="163"/>
                </a:cubicBezTo>
                <a:cubicBezTo>
                  <a:pt x="595" y="163"/>
                  <a:pt x="557" y="195"/>
                  <a:pt x="557" y="243"/>
                </a:cubicBezTo>
                <a:cubicBezTo>
                  <a:pt x="557" y="244"/>
                  <a:pt x="557" y="244"/>
                  <a:pt x="557" y="244"/>
                </a:cubicBezTo>
                <a:cubicBezTo>
                  <a:pt x="557" y="296"/>
                  <a:pt x="591" y="311"/>
                  <a:pt x="644" y="324"/>
                </a:cubicBezTo>
                <a:cubicBezTo>
                  <a:pt x="688" y="335"/>
                  <a:pt x="698" y="343"/>
                  <a:pt x="698" y="358"/>
                </a:cubicBezTo>
                <a:cubicBezTo>
                  <a:pt x="698" y="358"/>
                  <a:pt x="698" y="358"/>
                  <a:pt x="698" y="358"/>
                </a:cubicBezTo>
                <a:cubicBezTo>
                  <a:pt x="698" y="374"/>
                  <a:pt x="683" y="383"/>
                  <a:pt x="659" y="383"/>
                </a:cubicBezTo>
                <a:cubicBezTo>
                  <a:pt x="629" y="383"/>
                  <a:pt x="605" y="371"/>
                  <a:pt x="581" y="351"/>
                </a:cubicBezTo>
                <a:cubicBezTo>
                  <a:pt x="547" y="392"/>
                  <a:pt x="547" y="392"/>
                  <a:pt x="547" y="392"/>
                </a:cubicBezTo>
                <a:cubicBezTo>
                  <a:pt x="578" y="421"/>
                  <a:pt x="618" y="435"/>
                  <a:pt x="658" y="435"/>
                </a:cubicBezTo>
                <a:cubicBezTo>
                  <a:pt x="715" y="435"/>
                  <a:pt x="755" y="405"/>
                  <a:pt x="755" y="353"/>
                </a:cubicBezTo>
                <a:lnTo>
                  <a:pt x="755" y="352"/>
                </a:lnTo>
                <a:close/>
                <a:moveTo>
                  <a:pt x="826" y="318"/>
                </a:moveTo>
                <a:cubicBezTo>
                  <a:pt x="826" y="291"/>
                  <a:pt x="839" y="277"/>
                  <a:pt x="861" y="277"/>
                </a:cubicBezTo>
                <a:cubicBezTo>
                  <a:pt x="882" y="277"/>
                  <a:pt x="894" y="291"/>
                  <a:pt x="894" y="318"/>
                </a:cubicBezTo>
                <a:cubicBezTo>
                  <a:pt x="894" y="431"/>
                  <a:pt x="894" y="431"/>
                  <a:pt x="894" y="431"/>
                </a:cubicBezTo>
                <a:cubicBezTo>
                  <a:pt x="952" y="431"/>
                  <a:pt x="952" y="431"/>
                  <a:pt x="952" y="431"/>
                </a:cubicBezTo>
                <a:cubicBezTo>
                  <a:pt x="952" y="318"/>
                  <a:pt x="952" y="318"/>
                  <a:pt x="952" y="318"/>
                </a:cubicBezTo>
                <a:cubicBezTo>
                  <a:pt x="952" y="291"/>
                  <a:pt x="965" y="277"/>
                  <a:pt x="986" y="277"/>
                </a:cubicBezTo>
                <a:cubicBezTo>
                  <a:pt x="1008" y="277"/>
                  <a:pt x="1020" y="291"/>
                  <a:pt x="1020" y="318"/>
                </a:cubicBezTo>
                <a:cubicBezTo>
                  <a:pt x="1020" y="431"/>
                  <a:pt x="1020" y="431"/>
                  <a:pt x="1020" y="431"/>
                </a:cubicBezTo>
                <a:cubicBezTo>
                  <a:pt x="1077" y="431"/>
                  <a:pt x="1077" y="431"/>
                  <a:pt x="1077" y="431"/>
                </a:cubicBezTo>
                <a:cubicBezTo>
                  <a:pt x="1077" y="299"/>
                  <a:pt x="1077" y="299"/>
                  <a:pt x="1077" y="299"/>
                </a:cubicBezTo>
                <a:cubicBezTo>
                  <a:pt x="1077" y="251"/>
                  <a:pt x="1051" y="225"/>
                  <a:pt x="1009" y="225"/>
                </a:cubicBezTo>
                <a:cubicBezTo>
                  <a:pt x="981" y="225"/>
                  <a:pt x="960" y="236"/>
                  <a:pt x="943" y="257"/>
                </a:cubicBezTo>
                <a:cubicBezTo>
                  <a:pt x="932" y="237"/>
                  <a:pt x="912" y="225"/>
                  <a:pt x="886" y="225"/>
                </a:cubicBezTo>
                <a:cubicBezTo>
                  <a:pt x="857" y="225"/>
                  <a:pt x="839" y="241"/>
                  <a:pt x="826" y="258"/>
                </a:cubicBezTo>
                <a:cubicBezTo>
                  <a:pt x="826" y="229"/>
                  <a:pt x="826" y="229"/>
                  <a:pt x="826" y="229"/>
                </a:cubicBezTo>
                <a:cubicBezTo>
                  <a:pt x="769" y="229"/>
                  <a:pt x="769" y="229"/>
                  <a:pt x="769" y="229"/>
                </a:cubicBezTo>
                <a:cubicBezTo>
                  <a:pt x="769" y="431"/>
                  <a:pt x="769" y="431"/>
                  <a:pt x="769" y="431"/>
                </a:cubicBezTo>
                <a:cubicBezTo>
                  <a:pt x="826" y="431"/>
                  <a:pt x="826" y="431"/>
                  <a:pt x="826" y="431"/>
                </a:cubicBezTo>
                <a:lnTo>
                  <a:pt x="826" y="318"/>
                </a:lnTo>
                <a:close/>
                <a:moveTo>
                  <a:pt x="1158" y="435"/>
                </a:moveTo>
                <a:cubicBezTo>
                  <a:pt x="1186" y="435"/>
                  <a:pt x="1205" y="424"/>
                  <a:pt x="1219" y="409"/>
                </a:cubicBezTo>
                <a:cubicBezTo>
                  <a:pt x="1219" y="431"/>
                  <a:pt x="1219" y="431"/>
                  <a:pt x="1219" y="431"/>
                </a:cubicBezTo>
                <a:cubicBezTo>
                  <a:pt x="1274" y="431"/>
                  <a:pt x="1274" y="431"/>
                  <a:pt x="1274" y="431"/>
                </a:cubicBezTo>
                <a:cubicBezTo>
                  <a:pt x="1274" y="314"/>
                  <a:pt x="1274" y="314"/>
                  <a:pt x="1274" y="314"/>
                </a:cubicBezTo>
                <a:cubicBezTo>
                  <a:pt x="1274" y="287"/>
                  <a:pt x="1268" y="264"/>
                  <a:pt x="1253" y="249"/>
                </a:cubicBezTo>
                <a:cubicBezTo>
                  <a:pt x="1238" y="235"/>
                  <a:pt x="1216" y="227"/>
                  <a:pt x="1184" y="227"/>
                </a:cubicBezTo>
                <a:cubicBezTo>
                  <a:pt x="1150" y="227"/>
                  <a:pt x="1128" y="233"/>
                  <a:pt x="1106" y="243"/>
                </a:cubicBezTo>
                <a:cubicBezTo>
                  <a:pt x="1120" y="287"/>
                  <a:pt x="1120" y="287"/>
                  <a:pt x="1120" y="287"/>
                </a:cubicBezTo>
                <a:cubicBezTo>
                  <a:pt x="1139" y="280"/>
                  <a:pt x="1154" y="276"/>
                  <a:pt x="1176" y="276"/>
                </a:cubicBezTo>
                <a:cubicBezTo>
                  <a:pt x="1205" y="276"/>
                  <a:pt x="1219" y="289"/>
                  <a:pt x="1219" y="313"/>
                </a:cubicBezTo>
                <a:cubicBezTo>
                  <a:pt x="1219" y="316"/>
                  <a:pt x="1219" y="316"/>
                  <a:pt x="1219" y="316"/>
                </a:cubicBezTo>
                <a:cubicBezTo>
                  <a:pt x="1205" y="311"/>
                  <a:pt x="1190" y="308"/>
                  <a:pt x="1170" y="308"/>
                </a:cubicBezTo>
                <a:cubicBezTo>
                  <a:pt x="1122" y="308"/>
                  <a:pt x="1089" y="328"/>
                  <a:pt x="1089" y="372"/>
                </a:cubicBezTo>
                <a:cubicBezTo>
                  <a:pt x="1089" y="373"/>
                  <a:pt x="1089" y="373"/>
                  <a:pt x="1089" y="373"/>
                </a:cubicBezTo>
                <a:cubicBezTo>
                  <a:pt x="1089" y="413"/>
                  <a:pt x="1120" y="435"/>
                  <a:pt x="1158" y="435"/>
                </a:cubicBezTo>
                <a:close/>
                <a:moveTo>
                  <a:pt x="1144" y="370"/>
                </a:moveTo>
                <a:cubicBezTo>
                  <a:pt x="1144" y="352"/>
                  <a:pt x="1159" y="342"/>
                  <a:pt x="1184" y="342"/>
                </a:cubicBezTo>
                <a:cubicBezTo>
                  <a:pt x="1198" y="342"/>
                  <a:pt x="1210" y="345"/>
                  <a:pt x="1220" y="349"/>
                </a:cubicBezTo>
                <a:cubicBezTo>
                  <a:pt x="1220" y="360"/>
                  <a:pt x="1220" y="360"/>
                  <a:pt x="1220" y="360"/>
                </a:cubicBezTo>
                <a:cubicBezTo>
                  <a:pt x="1220" y="380"/>
                  <a:pt x="1202" y="395"/>
                  <a:pt x="1175" y="395"/>
                </a:cubicBezTo>
                <a:cubicBezTo>
                  <a:pt x="1157" y="395"/>
                  <a:pt x="1144" y="386"/>
                  <a:pt x="1144" y="371"/>
                </a:cubicBezTo>
                <a:lnTo>
                  <a:pt x="1144" y="370"/>
                </a:lnTo>
                <a:close/>
                <a:moveTo>
                  <a:pt x="1348" y="356"/>
                </a:moveTo>
                <a:cubicBezTo>
                  <a:pt x="1348" y="308"/>
                  <a:pt x="1371" y="285"/>
                  <a:pt x="1409" y="285"/>
                </a:cubicBezTo>
                <a:cubicBezTo>
                  <a:pt x="1412" y="285"/>
                  <a:pt x="1412" y="285"/>
                  <a:pt x="1412" y="285"/>
                </a:cubicBezTo>
                <a:cubicBezTo>
                  <a:pt x="1412" y="225"/>
                  <a:pt x="1412" y="225"/>
                  <a:pt x="1412" y="225"/>
                </a:cubicBezTo>
                <a:cubicBezTo>
                  <a:pt x="1378" y="224"/>
                  <a:pt x="1360" y="242"/>
                  <a:pt x="1348" y="270"/>
                </a:cubicBezTo>
                <a:cubicBezTo>
                  <a:pt x="1348" y="229"/>
                  <a:pt x="1348" y="229"/>
                  <a:pt x="1348" y="229"/>
                </a:cubicBezTo>
                <a:cubicBezTo>
                  <a:pt x="1291" y="229"/>
                  <a:pt x="1291" y="229"/>
                  <a:pt x="1291" y="229"/>
                </a:cubicBezTo>
                <a:cubicBezTo>
                  <a:pt x="1291" y="431"/>
                  <a:pt x="1291" y="431"/>
                  <a:pt x="1291" y="431"/>
                </a:cubicBezTo>
                <a:cubicBezTo>
                  <a:pt x="1348" y="431"/>
                  <a:pt x="1348" y="431"/>
                  <a:pt x="1348" y="431"/>
                </a:cubicBezTo>
                <a:lnTo>
                  <a:pt x="1348" y="356"/>
                </a:lnTo>
                <a:close/>
                <a:moveTo>
                  <a:pt x="1448" y="374"/>
                </a:moveTo>
                <a:cubicBezTo>
                  <a:pt x="1448" y="420"/>
                  <a:pt x="1472" y="434"/>
                  <a:pt x="1507" y="434"/>
                </a:cubicBezTo>
                <a:cubicBezTo>
                  <a:pt x="1526" y="434"/>
                  <a:pt x="1540" y="430"/>
                  <a:pt x="1552" y="422"/>
                </a:cubicBezTo>
                <a:cubicBezTo>
                  <a:pt x="1552" y="377"/>
                  <a:pt x="1552" y="377"/>
                  <a:pt x="1552" y="377"/>
                </a:cubicBezTo>
                <a:cubicBezTo>
                  <a:pt x="1543" y="381"/>
                  <a:pt x="1534" y="384"/>
                  <a:pt x="1524" y="384"/>
                </a:cubicBezTo>
                <a:cubicBezTo>
                  <a:pt x="1511" y="384"/>
                  <a:pt x="1505" y="377"/>
                  <a:pt x="1505" y="364"/>
                </a:cubicBezTo>
                <a:cubicBezTo>
                  <a:pt x="1505" y="278"/>
                  <a:pt x="1505" y="278"/>
                  <a:pt x="1505" y="278"/>
                </a:cubicBezTo>
                <a:cubicBezTo>
                  <a:pt x="1553" y="278"/>
                  <a:pt x="1553" y="278"/>
                  <a:pt x="1553" y="278"/>
                </a:cubicBezTo>
                <a:cubicBezTo>
                  <a:pt x="1553" y="229"/>
                  <a:pt x="1553" y="229"/>
                  <a:pt x="1553" y="229"/>
                </a:cubicBezTo>
                <a:cubicBezTo>
                  <a:pt x="1505" y="229"/>
                  <a:pt x="1505" y="229"/>
                  <a:pt x="1505" y="229"/>
                </a:cubicBezTo>
                <a:cubicBezTo>
                  <a:pt x="1505" y="177"/>
                  <a:pt x="1505" y="177"/>
                  <a:pt x="1505" y="177"/>
                </a:cubicBezTo>
                <a:cubicBezTo>
                  <a:pt x="1448" y="177"/>
                  <a:pt x="1448" y="177"/>
                  <a:pt x="1448" y="177"/>
                </a:cubicBezTo>
                <a:cubicBezTo>
                  <a:pt x="1448" y="229"/>
                  <a:pt x="1448" y="229"/>
                  <a:pt x="1448" y="229"/>
                </a:cubicBezTo>
                <a:cubicBezTo>
                  <a:pt x="1424" y="229"/>
                  <a:pt x="1424" y="229"/>
                  <a:pt x="1424" y="229"/>
                </a:cubicBezTo>
                <a:cubicBezTo>
                  <a:pt x="1424" y="278"/>
                  <a:pt x="1424" y="278"/>
                  <a:pt x="1424" y="278"/>
                </a:cubicBezTo>
                <a:cubicBezTo>
                  <a:pt x="1448" y="278"/>
                  <a:pt x="1448" y="278"/>
                  <a:pt x="1448" y="278"/>
                </a:cubicBezTo>
                <a:lnTo>
                  <a:pt x="1448" y="374"/>
                </a:lnTo>
                <a:close/>
                <a:moveTo>
                  <a:pt x="1666" y="435"/>
                </a:moveTo>
                <a:cubicBezTo>
                  <a:pt x="1702" y="435"/>
                  <a:pt x="1729" y="421"/>
                  <a:pt x="1748" y="398"/>
                </a:cubicBezTo>
                <a:cubicBezTo>
                  <a:pt x="1715" y="369"/>
                  <a:pt x="1715" y="369"/>
                  <a:pt x="1715" y="369"/>
                </a:cubicBezTo>
                <a:cubicBezTo>
                  <a:pt x="1700" y="383"/>
                  <a:pt x="1686" y="389"/>
                  <a:pt x="1666" y="389"/>
                </a:cubicBezTo>
                <a:cubicBezTo>
                  <a:pt x="1641" y="389"/>
                  <a:pt x="1623" y="376"/>
                  <a:pt x="1617" y="350"/>
                </a:cubicBezTo>
                <a:cubicBezTo>
                  <a:pt x="1758" y="350"/>
                  <a:pt x="1758" y="350"/>
                  <a:pt x="1758" y="350"/>
                </a:cubicBezTo>
                <a:cubicBezTo>
                  <a:pt x="1758" y="345"/>
                  <a:pt x="1758" y="339"/>
                  <a:pt x="1758" y="335"/>
                </a:cubicBezTo>
                <a:cubicBezTo>
                  <a:pt x="1758" y="277"/>
                  <a:pt x="1727" y="225"/>
                  <a:pt x="1660" y="225"/>
                </a:cubicBezTo>
                <a:cubicBezTo>
                  <a:pt x="1601" y="225"/>
                  <a:pt x="1560" y="273"/>
                  <a:pt x="1560" y="330"/>
                </a:cubicBezTo>
                <a:cubicBezTo>
                  <a:pt x="1560" y="331"/>
                  <a:pt x="1560" y="331"/>
                  <a:pt x="1560" y="331"/>
                </a:cubicBezTo>
                <a:cubicBezTo>
                  <a:pt x="1560" y="393"/>
                  <a:pt x="1605" y="435"/>
                  <a:pt x="1666" y="435"/>
                </a:cubicBezTo>
                <a:close/>
                <a:moveTo>
                  <a:pt x="1660" y="271"/>
                </a:moveTo>
                <a:cubicBezTo>
                  <a:pt x="1684" y="271"/>
                  <a:pt x="1699" y="288"/>
                  <a:pt x="1703" y="314"/>
                </a:cubicBezTo>
                <a:cubicBezTo>
                  <a:pt x="1616" y="314"/>
                  <a:pt x="1616" y="314"/>
                  <a:pt x="1616" y="314"/>
                </a:cubicBezTo>
                <a:cubicBezTo>
                  <a:pt x="1621" y="288"/>
                  <a:pt x="1636" y="271"/>
                  <a:pt x="1660" y="271"/>
                </a:cubicBezTo>
                <a:close/>
                <a:moveTo>
                  <a:pt x="1828" y="356"/>
                </a:moveTo>
                <a:cubicBezTo>
                  <a:pt x="1828" y="308"/>
                  <a:pt x="1851" y="285"/>
                  <a:pt x="1889" y="285"/>
                </a:cubicBezTo>
                <a:cubicBezTo>
                  <a:pt x="1892" y="285"/>
                  <a:pt x="1892" y="285"/>
                  <a:pt x="1892" y="285"/>
                </a:cubicBezTo>
                <a:cubicBezTo>
                  <a:pt x="1892" y="225"/>
                  <a:pt x="1892" y="225"/>
                  <a:pt x="1892" y="225"/>
                </a:cubicBezTo>
                <a:cubicBezTo>
                  <a:pt x="1858" y="224"/>
                  <a:pt x="1839" y="242"/>
                  <a:pt x="1828" y="270"/>
                </a:cubicBezTo>
                <a:cubicBezTo>
                  <a:pt x="1828" y="229"/>
                  <a:pt x="1828" y="229"/>
                  <a:pt x="1828" y="229"/>
                </a:cubicBezTo>
                <a:cubicBezTo>
                  <a:pt x="1770" y="229"/>
                  <a:pt x="1770" y="229"/>
                  <a:pt x="1770" y="229"/>
                </a:cubicBezTo>
                <a:cubicBezTo>
                  <a:pt x="1770" y="431"/>
                  <a:pt x="1770" y="431"/>
                  <a:pt x="1770" y="431"/>
                </a:cubicBezTo>
                <a:cubicBezTo>
                  <a:pt x="1828" y="431"/>
                  <a:pt x="1828" y="431"/>
                  <a:pt x="1828" y="431"/>
                </a:cubicBezTo>
                <a:lnTo>
                  <a:pt x="1828" y="356"/>
                </a:lnTo>
                <a:close/>
                <a:moveTo>
                  <a:pt x="81" y="533"/>
                </a:moveTo>
                <a:cubicBezTo>
                  <a:pt x="24" y="533"/>
                  <a:pt x="24" y="533"/>
                  <a:pt x="24" y="533"/>
                </a:cubicBezTo>
                <a:cubicBezTo>
                  <a:pt x="24" y="585"/>
                  <a:pt x="24" y="585"/>
                  <a:pt x="24" y="585"/>
                </a:cubicBezTo>
                <a:cubicBezTo>
                  <a:pt x="0" y="585"/>
                  <a:pt x="0" y="585"/>
                  <a:pt x="0" y="585"/>
                </a:cubicBezTo>
                <a:cubicBezTo>
                  <a:pt x="0" y="634"/>
                  <a:pt x="0" y="634"/>
                  <a:pt x="0" y="634"/>
                </a:cubicBezTo>
                <a:cubicBezTo>
                  <a:pt x="24" y="634"/>
                  <a:pt x="24" y="634"/>
                  <a:pt x="24" y="634"/>
                </a:cubicBezTo>
                <a:cubicBezTo>
                  <a:pt x="24" y="730"/>
                  <a:pt x="24" y="730"/>
                  <a:pt x="24" y="730"/>
                </a:cubicBezTo>
                <a:cubicBezTo>
                  <a:pt x="24" y="776"/>
                  <a:pt x="48" y="790"/>
                  <a:pt x="83" y="790"/>
                </a:cubicBezTo>
                <a:cubicBezTo>
                  <a:pt x="102" y="790"/>
                  <a:pt x="116" y="786"/>
                  <a:pt x="128" y="779"/>
                </a:cubicBezTo>
                <a:cubicBezTo>
                  <a:pt x="128" y="733"/>
                  <a:pt x="128" y="733"/>
                  <a:pt x="128" y="733"/>
                </a:cubicBezTo>
                <a:cubicBezTo>
                  <a:pt x="120" y="737"/>
                  <a:pt x="110" y="740"/>
                  <a:pt x="100" y="740"/>
                </a:cubicBezTo>
                <a:cubicBezTo>
                  <a:pt x="87" y="740"/>
                  <a:pt x="81" y="733"/>
                  <a:pt x="81" y="720"/>
                </a:cubicBezTo>
                <a:cubicBezTo>
                  <a:pt x="81" y="634"/>
                  <a:pt x="81" y="634"/>
                  <a:pt x="81" y="634"/>
                </a:cubicBezTo>
                <a:cubicBezTo>
                  <a:pt x="129" y="634"/>
                  <a:pt x="129" y="634"/>
                  <a:pt x="129" y="634"/>
                </a:cubicBezTo>
                <a:cubicBezTo>
                  <a:pt x="129" y="585"/>
                  <a:pt x="129" y="585"/>
                  <a:pt x="129" y="585"/>
                </a:cubicBezTo>
                <a:cubicBezTo>
                  <a:pt x="81" y="585"/>
                  <a:pt x="81" y="585"/>
                  <a:pt x="81" y="585"/>
                </a:cubicBezTo>
                <a:lnTo>
                  <a:pt x="81" y="533"/>
                </a:lnTo>
                <a:close/>
                <a:moveTo>
                  <a:pt x="237" y="581"/>
                </a:moveTo>
                <a:cubicBezTo>
                  <a:pt x="178" y="581"/>
                  <a:pt x="137" y="629"/>
                  <a:pt x="137" y="686"/>
                </a:cubicBezTo>
                <a:cubicBezTo>
                  <a:pt x="137" y="687"/>
                  <a:pt x="137" y="687"/>
                  <a:pt x="137" y="687"/>
                </a:cubicBezTo>
                <a:cubicBezTo>
                  <a:pt x="137" y="749"/>
                  <a:pt x="182" y="791"/>
                  <a:pt x="243" y="791"/>
                </a:cubicBezTo>
                <a:cubicBezTo>
                  <a:pt x="279" y="791"/>
                  <a:pt x="306" y="777"/>
                  <a:pt x="325" y="754"/>
                </a:cubicBezTo>
                <a:cubicBezTo>
                  <a:pt x="292" y="725"/>
                  <a:pt x="292" y="725"/>
                  <a:pt x="292" y="725"/>
                </a:cubicBezTo>
                <a:cubicBezTo>
                  <a:pt x="277" y="739"/>
                  <a:pt x="263" y="745"/>
                  <a:pt x="243" y="745"/>
                </a:cubicBezTo>
                <a:cubicBezTo>
                  <a:pt x="218" y="745"/>
                  <a:pt x="200" y="732"/>
                  <a:pt x="194" y="706"/>
                </a:cubicBezTo>
                <a:cubicBezTo>
                  <a:pt x="335" y="706"/>
                  <a:pt x="335" y="706"/>
                  <a:pt x="335" y="706"/>
                </a:cubicBezTo>
                <a:cubicBezTo>
                  <a:pt x="335" y="701"/>
                  <a:pt x="335" y="695"/>
                  <a:pt x="335" y="691"/>
                </a:cubicBezTo>
                <a:cubicBezTo>
                  <a:pt x="335" y="634"/>
                  <a:pt x="304" y="581"/>
                  <a:pt x="237" y="581"/>
                </a:cubicBezTo>
                <a:close/>
                <a:moveTo>
                  <a:pt x="193" y="670"/>
                </a:moveTo>
                <a:cubicBezTo>
                  <a:pt x="198" y="644"/>
                  <a:pt x="213" y="627"/>
                  <a:pt x="237" y="627"/>
                </a:cubicBezTo>
                <a:cubicBezTo>
                  <a:pt x="261" y="627"/>
                  <a:pt x="276" y="644"/>
                  <a:pt x="280" y="670"/>
                </a:cubicBezTo>
                <a:lnTo>
                  <a:pt x="193" y="670"/>
                </a:lnTo>
                <a:close/>
                <a:moveTo>
                  <a:pt x="452" y="742"/>
                </a:moveTo>
                <a:cubicBezTo>
                  <a:pt x="421" y="742"/>
                  <a:pt x="401" y="717"/>
                  <a:pt x="401" y="686"/>
                </a:cubicBezTo>
                <a:cubicBezTo>
                  <a:pt x="401" y="686"/>
                  <a:pt x="401" y="686"/>
                  <a:pt x="401" y="686"/>
                </a:cubicBezTo>
                <a:cubicBezTo>
                  <a:pt x="401" y="656"/>
                  <a:pt x="421" y="631"/>
                  <a:pt x="450" y="631"/>
                </a:cubicBezTo>
                <a:cubicBezTo>
                  <a:pt x="470" y="631"/>
                  <a:pt x="483" y="639"/>
                  <a:pt x="496" y="653"/>
                </a:cubicBezTo>
                <a:cubicBezTo>
                  <a:pt x="531" y="615"/>
                  <a:pt x="531" y="615"/>
                  <a:pt x="531" y="615"/>
                </a:cubicBezTo>
                <a:cubicBezTo>
                  <a:pt x="512" y="594"/>
                  <a:pt x="488" y="581"/>
                  <a:pt x="450" y="581"/>
                </a:cubicBezTo>
                <a:cubicBezTo>
                  <a:pt x="388" y="581"/>
                  <a:pt x="344" y="629"/>
                  <a:pt x="344" y="686"/>
                </a:cubicBezTo>
                <a:cubicBezTo>
                  <a:pt x="344" y="687"/>
                  <a:pt x="344" y="687"/>
                  <a:pt x="344" y="687"/>
                </a:cubicBezTo>
                <a:cubicBezTo>
                  <a:pt x="344" y="745"/>
                  <a:pt x="389" y="791"/>
                  <a:pt x="449" y="791"/>
                </a:cubicBezTo>
                <a:cubicBezTo>
                  <a:pt x="490" y="791"/>
                  <a:pt x="512" y="776"/>
                  <a:pt x="532" y="754"/>
                </a:cubicBezTo>
                <a:cubicBezTo>
                  <a:pt x="498" y="721"/>
                  <a:pt x="498" y="721"/>
                  <a:pt x="498" y="721"/>
                </a:cubicBezTo>
                <a:cubicBezTo>
                  <a:pt x="485" y="734"/>
                  <a:pt x="471" y="742"/>
                  <a:pt x="452" y="742"/>
                </a:cubicBezTo>
                <a:close/>
                <a:moveTo>
                  <a:pt x="657" y="581"/>
                </a:moveTo>
                <a:cubicBezTo>
                  <a:pt x="628" y="581"/>
                  <a:pt x="611" y="597"/>
                  <a:pt x="598" y="614"/>
                </a:cubicBezTo>
                <a:cubicBezTo>
                  <a:pt x="598" y="512"/>
                  <a:pt x="598" y="512"/>
                  <a:pt x="598" y="512"/>
                </a:cubicBezTo>
                <a:cubicBezTo>
                  <a:pt x="541" y="512"/>
                  <a:pt x="541" y="512"/>
                  <a:pt x="541" y="512"/>
                </a:cubicBezTo>
                <a:cubicBezTo>
                  <a:pt x="541" y="787"/>
                  <a:pt x="541" y="787"/>
                  <a:pt x="541" y="787"/>
                </a:cubicBezTo>
                <a:cubicBezTo>
                  <a:pt x="598" y="787"/>
                  <a:pt x="598" y="787"/>
                  <a:pt x="598" y="787"/>
                </a:cubicBezTo>
                <a:cubicBezTo>
                  <a:pt x="598" y="674"/>
                  <a:pt x="598" y="674"/>
                  <a:pt x="598" y="674"/>
                </a:cubicBezTo>
                <a:cubicBezTo>
                  <a:pt x="598" y="647"/>
                  <a:pt x="612" y="633"/>
                  <a:pt x="634" y="633"/>
                </a:cubicBezTo>
                <a:cubicBezTo>
                  <a:pt x="656" y="633"/>
                  <a:pt x="669" y="647"/>
                  <a:pt x="669" y="674"/>
                </a:cubicBezTo>
                <a:cubicBezTo>
                  <a:pt x="669" y="787"/>
                  <a:pt x="669" y="787"/>
                  <a:pt x="669" y="787"/>
                </a:cubicBezTo>
                <a:cubicBezTo>
                  <a:pt x="726" y="787"/>
                  <a:pt x="726" y="787"/>
                  <a:pt x="726" y="787"/>
                </a:cubicBezTo>
                <a:cubicBezTo>
                  <a:pt x="726" y="656"/>
                  <a:pt x="726" y="656"/>
                  <a:pt x="726" y="656"/>
                </a:cubicBezTo>
                <a:cubicBezTo>
                  <a:pt x="726" y="610"/>
                  <a:pt x="701" y="581"/>
                  <a:pt x="657" y="581"/>
                </a:cubicBezTo>
                <a:close/>
                <a:moveTo>
                  <a:pt x="857" y="581"/>
                </a:moveTo>
                <a:cubicBezTo>
                  <a:pt x="828" y="581"/>
                  <a:pt x="811" y="597"/>
                  <a:pt x="798" y="614"/>
                </a:cubicBezTo>
                <a:cubicBezTo>
                  <a:pt x="798" y="585"/>
                  <a:pt x="798" y="585"/>
                  <a:pt x="798" y="585"/>
                </a:cubicBezTo>
                <a:cubicBezTo>
                  <a:pt x="740" y="585"/>
                  <a:pt x="740" y="585"/>
                  <a:pt x="740" y="585"/>
                </a:cubicBezTo>
                <a:cubicBezTo>
                  <a:pt x="740" y="787"/>
                  <a:pt x="740" y="787"/>
                  <a:pt x="740" y="787"/>
                </a:cubicBezTo>
                <a:cubicBezTo>
                  <a:pt x="798" y="787"/>
                  <a:pt x="798" y="787"/>
                  <a:pt x="798" y="787"/>
                </a:cubicBezTo>
                <a:cubicBezTo>
                  <a:pt x="798" y="674"/>
                  <a:pt x="798" y="674"/>
                  <a:pt x="798" y="674"/>
                </a:cubicBezTo>
                <a:cubicBezTo>
                  <a:pt x="798" y="647"/>
                  <a:pt x="812" y="633"/>
                  <a:pt x="833" y="633"/>
                </a:cubicBezTo>
                <a:cubicBezTo>
                  <a:pt x="855" y="633"/>
                  <a:pt x="868" y="647"/>
                  <a:pt x="868" y="674"/>
                </a:cubicBezTo>
                <a:cubicBezTo>
                  <a:pt x="868" y="787"/>
                  <a:pt x="868" y="787"/>
                  <a:pt x="868" y="787"/>
                </a:cubicBezTo>
                <a:cubicBezTo>
                  <a:pt x="925" y="787"/>
                  <a:pt x="925" y="787"/>
                  <a:pt x="925" y="787"/>
                </a:cubicBezTo>
                <a:cubicBezTo>
                  <a:pt x="925" y="656"/>
                  <a:pt x="925" y="656"/>
                  <a:pt x="925" y="656"/>
                </a:cubicBezTo>
                <a:cubicBezTo>
                  <a:pt x="925" y="610"/>
                  <a:pt x="900" y="581"/>
                  <a:pt x="857" y="581"/>
                </a:cubicBezTo>
                <a:close/>
                <a:moveTo>
                  <a:pt x="1155" y="686"/>
                </a:moveTo>
                <a:cubicBezTo>
                  <a:pt x="1155" y="686"/>
                  <a:pt x="1155" y="686"/>
                  <a:pt x="1155" y="686"/>
                </a:cubicBezTo>
                <a:cubicBezTo>
                  <a:pt x="1155" y="628"/>
                  <a:pt x="1109" y="581"/>
                  <a:pt x="1047" y="581"/>
                </a:cubicBezTo>
                <a:cubicBezTo>
                  <a:pt x="984" y="581"/>
                  <a:pt x="937" y="628"/>
                  <a:pt x="937" y="686"/>
                </a:cubicBezTo>
                <a:cubicBezTo>
                  <a:pt x="937" y="687"/>
                  <a:pt x="937" y="687"/>
                  <a:pt x="937" y="687"/>
                </a:cubicBezTo>
                <a:cubicBezTo>
                  <a:pt x="937" y="745"/>
                  <a:pt x="983" y="791"/>
                  <a:pt x="1046" y="791"/>
                </a:cubicBezTo>
                <a:cubicBezTo>
                  <a:pt x="1109" y="791"/>
                  <a:pt x="1155" y="744"/>
                  <a:pt x="1155" y="686"/>
                </a:cubicBezTo>
                <a:close/>
                <a:moveTo>
                  <a:pt x="993" y="686"/>
                </a:moveTo>
                <a:cubicBezTo>
                  <a:pt x="993" y="686"/>
                  <a:pt x="993" y="686"/>
                  <a:pt x="993" y="686"/>
                </a:cubicBezTo>
                <a:cubicBezTo>
                  <a:pt x="993" y="656"/>
                  <a:pt x="1013" y="631"/>
                  <a:pt x="1046" y="631"/>
                </a:cubicBezTo>
                <a:cubicBezTo>
                  <a:pt x="1077" y="631"/>
                  <a:pt x="1099" y="657"/>
                  <a:pt x="1099" y="686"/>
                </a:cubicBezTo>
                <a:cubicBezTo>
                  <a:pt x="1099" y="687"/>
                  <a:pt x="1099" y="687"/>
                  <a:pt x="1099" y="687"/>
                </a:cubicBezTo>
                <a:cubicBezTo>
                  <a:pt x="1099" y="717"/>
                  <a:pt x="1079" y="742"/>
                  <a:pt x="1047" y="742"/>
                </a:cubicBezTo>
                <a:cubicBezTo>
                  <a:pt x="1015" y="742"/>
                  <a:pt x="993" y="716"/>
                  <a:pt x="993" y="686"/>
                </a:cubicBezTo>
                <a:close/>
                <a:moveTo>
                  <a:pt x="1167" y="787"/>
                </a:moveTo>
                <a:cubicBezTo>
                  <a:pt x="1224" y="787"/>
                  <a:pt x="1224" y="787"/>
                  <a:pt x="1224" y="787"/>
                </a:cubicBezTo>
                <a:cubicBezTo>
                  <a:pt x="1224" y="512"/>
                  <a:pt x="1224" y="512"/>
                  <a:pt x="1224" y="512"/>
                </a:cubicBezTo>
                <a:cubicBezTo>
                  <a:pt x="1167" y="512"/>
                  <a:pt x="1167" y="512"/>
                  <a:pt x="1167" y="512"/>
                </a:cubicBezTo>
                <a:lnTo>
                  <a:pt x="1167" y="787"/>
                </a:lnTo>
                <a:close/>
                <a:moveTo>
                  <a:pt x="1345" y="581"/>
                </a:moveTo>
                <a:cubicBezTo>
                  <a:pt x="1282" y="581"/>
                  <a:pt x="1235" y="628"/>
                  <a:pt x="1235" y="68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5" y="745"/>
                  <a:pt x="1281" y="791"/>
                  <a:pt x="1344" y="791"/>
                </a:cubicBezTo>
                <a:cubicBezTo>
                  <a:pt x="1407" y="791"/>
                  <a:pt x="1453" y="744"/>
                  <a:pt x="1453" y="686"/>
                </a:cubicBezTo>
                <a:cubicBezTo>
                  <a:pt x="1453" y="686"/>
                  <a:pt x="1453" y="686"/>
                  <a:pt x="1453" y="686"/>
                </a:cubicBezTo>
                <a:cubicBezTo>
                  <a:pt x="1453" y="628"/>
                  <a:pt x="1407" y="581"/>
                  <a:pt x="1345" y="581"/>
                </a:cubicBezTo>
                <a:close/>
                <a:moveTo>
                  <a:pt x="1397" y="687"/>
                </a:moveTo>
                <a:cubicBezTo>
                  <a:pt x="1397" y="717"/>
                  <a:pt x="1377" y="742"/>
                  <a:pt x="1345" y="742"/>
                </a:cubicBezTo>
                <a:cubicBezTo>
                  <a:pt x="1313" y="742"/>
                  <a:pt x="1292" y="716"/>
                  <a:pt x="1292" y="686"/>
                </a:cubicBezTo>
                <a:cubicBezTo>
                  <a:pt x="1292" y="686"/>
                  <a:pt x="1292" y="686"/>
                  <a:pt x="1292" y="686"/>
                </a:cubicBezTo>
                <a:cubicBezTo>
                  <a:pt x="1292" y="656"/>
                  <a:pt x="1311" y="631"/>
                  <a:pt x="1344" y="631"/>
                </a:cubicBezTo>
                <a:cubicBezTo>
                  <a:pt x="1375" y="631"/>
                  <a:pt x="1397" y="657"/>
                  <a:pt x="1397" y="686"/>
                </a:cubicBezTo>
                <a:lnTo>
                  <a:pt x="1397" y="687"/>
                </a:lnTo>
                <a:close/>
                <a:moveTo>
                  <a:pt x="1560" y="802"/>
                </a:moveTo>
                <a:cubicBezTo>
                  <a:pt x="1533" y="802"/>
                  <a:pt x="1513" y="795"/>
                  <a:pt x="1492" y="784"/>
                </a:cubicBezTo>
                <a:cubicBezTo>
                  <a:pt x="1472" y="827"/>
                  <a:pt x="1472" y="827"/>
                  <a:pt x="1472" y="827"/>
                </a:cubicBezTo>
                <a:cubicBezTo>
                  <a:pt x="1498" y="840"/>
                  <a:pt x="1529" y="848"/>
                  <a:pt x="1562" y="848"/>
                </a:cubicBezTo>
                <a:cubicBezTo>
                  <a:pt x="1601" y="848"/>
                  <a:pt x="1630" y="840"/>
                  <a:pt x="1649" y="821"/>
                </a:cubicBezTo>
                <a:cubicBezTo>
                  <a:pt x="1666" y="804"/>
                  <a:pt x="1674" y="777"/>
                  <a:pt x="1674" y="741"/>
                </a:cubicBezTo>
                <a:cubicBezTo>
                  <a:pt x="1674" y="585"/>
                  <a:pt x="1674" y="585"/>
                  <a:pt x="1674" y="585"/>
                </a:cubicBezTo>
                <a:cubicBezTo>
                  <a:pt x="1617" y="585"/>
                  <a:pt x="1617" y="585"/>
                  <a:pt x="1617" y="585"/>
                </a:cubicBezTo>
                <a:cubicBezTo>
                  <a:pt x="1617" y="611"/>
                  <a:pt x="1617" y="611"/>
                  <a:pt x="1617" y="611"/>
                </a:cubicBezTo>
                <a:cubicBezTo>
                  <a:pt x="1602" y="594"/>
                  <a:pt x="1583" y="581"/>
                  <a:pt x="1552" y="581"/>
                </a:cubicBezTo>
                <a:cubicBezTo>
                  <a:pt x="1505" y="581"/>
                  <a:pt x="1462" y="615"/>
                  <a:pt x="1462" y="675"/>
                </a:cubicBezTo>
                <a:cubicBezTo>
                  <a:pt x="1462" y="676"/>
                  <a:pt x="1462" y="676"/>
                  <a:pt x="1462" y="676"/>
                </a:cubicBezTo>
                <a:cubicBezTo>
                  <a:pt x="1462" y="736"/>
                  <a:pt x="1505" y="770"/>
                  <a:pt x="1552" y="770"/>
                </a:cubicBezTo>
                <a:cubicBezTo>
                  <a:pt x="1582" y="770"/>
                  <a:pt x="1601" y="758"/>
                  <a:pt x="1618" y="737"/>
                </a:cubicBezTo>
                <a:cubicBezTo>
                  <a:pt x="1618" y="747"/>
                  <a:pt x="1618" y="747"/>
                  <a:pt x="1618" y="747"/>
                </a:cubicBezTo>
                <a:cubicBezTo>
                  <a:pt x="1618" y="783"/>
                  <a:pt x="1599" y="802"/>
                  <a:pt x="1560" y="802"/>
                </a:cubicBezTo>
                <a:close/>
                <a:moveTo>
                  <a:pt x="1568" y="723"/>
                </a:moveTo>
                <a:cubicBezTo>
                  <a:pt x="1541" y="723"/>
                  <a:pt x="1519" y="704"/>
                  <a:pt x="1519" y="676"/>
                </a:cubicBezTo>
                <a:cubicBezTo>
                  <a:pt x="1519" y="675"/>
                  <a:pt x="1519" y="675"/>
                  <a:pt x="1519" y="675"/>
                </a:cubicBezTo>
                <a:cubicBezTo>
                  <a:pt x="1519" y="648"/>
                  <a:pt x="1541" y="629"/>
                  <a:pt x="1568" y="629"/>
                </a:cubicBezTo>
                <a:cubicBezTo>
                  <a:pt x="1596" y="629"/>
                  <a:pt x="1618" y="648"/>
                  <a:pt x="1618" y="675"/>
                </a:cubicBezTo>
                <a:cubicBezTo>
                  <a:pt x="1618" y="676"/>
                  <a:pt x="1618" y="676"/>
                  <a:pt x="1618" y="676"/>
                </a:cubicBezTo>
                <a:cubicBezTo>
                  <a:pt x="1618" y="704"/>
                  <a:pt x="1596" y="723"/>
                  <a:pt x="1568" y="723"/>
                </a:cubicBezTo>
                <a:close/>
                <a:moveTo>
                  <a:pt x="1790" y="722"/>
                </a:moveTo>
                <a:cubicBezTo>
                  <a:pt x="1744" y="585"/>
                  <a:pt x="1744" y="585"/>
                  <a:pt x="1744" y="585"/>
                </a:cubicBezTo>
                <a:cubicBezTo>
                  <a:pt x="1684" y="585"/>
                  <a:pt x="1684" y="585"/>
                  <a:pt x="1684" y="585"/>
                </a:cubicBezTo>
                <a:cubicBezTo>
                  <a:pt x="1763" y="788"/>
                  <a:pt x="1763" y="788"/>
                  <a:pt x="1763" y="788"/>
                </a:cubicBezTo>
                <a:cubicBezTo>
                  <a:pt x="1758" y="798"/>
                  <a:pt x="1753" y="801"/>
                  <a:pt x="1743" y="801"/>
                </a:cubicBezTo>
                <a:cubicBezTo>
                  <a:pt x="1735" y="801"/>
                  <a:pt x="1726" y="797"/>
                  <a:pt x="1718" y="793"/>
                </a:cubicBezTo>
                <a:cubicBezTo>
                  <a:pt x="1699" y="834"/>
                  <a:pt x="1699" y="834"/>
                  <a:pt x="1699" y="834"/>
                </a:cubicBezTo>
                <a:cubicBezTo>
                  <a:pt x="1714" y="843"/>
                  <a:pt x="1729" y="848"/>
                  <a:pt x="1750" y="848"/>
                </a:cubicBezTo>
                <a:cubicBezTo>
                  <a:pt x="1784" y="848"/>
                  <a:pt x="1801" y="833"/>
                  <a:pt x="1816" y="792"/>
                </a:cubicBezTo>
                <a:cubicBezTo>
                  <a:pt x="1894" y="585"/>
                  <a:pt x="1894" y="585"/>
                  <a:pt x="1894" y="585"/>
                </a:cubicBezTo>
                <a:cubicBezTo>
                  <a:pt x="1834" y="585"/>
                  <a:pt x="1834" y="585"/>
                  <a:pt x="1834" y="585"/>
                </a:cubicBezTo>
                <a:lnTo>
                  <a:pt x="1790" y="722"/>
                </a:lnTo>
                <a:close/>
                <a:moveTo>
                  <a:pt x="1101" y="965"/>
                </a:moveTo>
                <a:cubicBezTo>
                  <a:pt x="1054" y="965"/>
                  <a:pt x="1054" y="965"/>
                  <a:pt x="1054" y="965"/>
                </a:cubicBezTo>
                <a:cubicBezTo>
                  <a:pt x="1054" y="957"/>
                  <a:pt x="1054" y="957"/>
                  <a:pt x="1054" y="957"/>
                </a:cubicBezTo>
                <a:cubicBezTo>
                  <a:pt x="1054" y="942"/>
                  <a:pt x="1062" y="935"/>
                  <a:pt x="1075" y="935"/>
                </a:cubicBezTo>
                <a:cubicBezTo>
                  <a:pt x="1085" y="935"/>
                  <a:pt x="1093" y="937"/>
                  <a:pt x="1101" y="940"/>
                </a:cubicBezTo>
                <a:cubicBezTo>
                  <a:pt x="1101" y="893"/>
                  <a:pt x="1101" y="893"/>
                  <a:pt x="1101" y="893"/>
                </a:cubicBezTo>
                <a:cubicBezTo>
                  <a:pt x="1091" y="889"/>
                  <a:pt x="1078" y="887"/>
                  <a:pt x="1060" y="887"/>
                </a:cubicBezTo>
                <a:cubicBezTo>
                  <a:pt x="1040" y="887"/>
                  <a:pt x="1025" y="892"/>
                  <a:pt x="1014" y="903"/>
                </a:cubicBezTo>
                <a:cubicBezTo>
                  <a:pt x="1004" y="914"/>
                  <a:pt x="998" y="930"/>
                  <a:pt x="998" y="952"/>
                </a:cubicBezTo>
                <a:cubicBezTo>
                  <a:pt x="998" y="965"/>
                  <a:pt x="998" y="965"/>
                  <a:pt x="998" y="965"/>
                </a:cubicBezTo>
                <a:cubicBezTo>
                  <a:pt x="974" y="965"/>
                  <a:pt x="974" y="965"/>
                  <a:pt x="974" y="965"/>
                </a:cubicBezTo>
                <a:cubicBezTo>
                  <a:pt x="974" y="1012"/>
                  <a:pt x="974" y="1012"/>
                  <a:pt x="974" y="1012"/>
                </a:cubicBezTo>
                <a:cubicBezTo>
                  <a:pt x="998" y="1012"/>
                  <a:pt x="998" y="1012"/>
                  <a:pt x="998" y="1012"/>
                </a:cubicBezTo>
                <a:cubicBezTo>
                  <a:pt x="998" y="1165"/>
                  <a:pt x="998" y="1165"/>
                  <a:pt x="998" y="1165"/>
                </a:cubicBezTo>
                <a:cubicBezTo>
                  <a:pt x="1055" y="1165"/>
                  <a:pt x="1055" y="1165"/>
                  <a:pt x="1055" y="1165"/>
                </a:cubicBezTo>
                <a:cubicBezTo>
                  <a:pt x="1055" y="1012"/>
                  <a:pt x="1055" y="1012"/>
                  <a:pt x="1055" y="1012"/>
                </a:cubicBezTo>
                <a:cubicBezTo>
                  <a:pt x="1101" y="1012"/>
                  <a:pt x="1101" y="1012"/>
                  <a:pt x="1101" y="1012"/>
                </a:cubicBezTo>
                <a:lnTo>
                  <a:pt x="1101" y="965"/>
                </a:lnTo>
                <a:close/>
                <a:moveTo>
                  <a:pt x="1209" y="959"/>
                </a:moveTo>
                <a:cubicBezTo>
                  <a:pt x="1147" y="959"/>
                  <a:pt x="1100" y="1006"/>
                  <a:pt x="1100" y="1064"/>
                </a:cubicBezTo>
                <a:cubicBezTo>
                  <a:pt x="1100" y="1065"/>
                  <a:pt x="1100" y="1065"/>
                  <a:pt x="1100" y="1065"/>
                </a:cubicBezTo>
                <a:cubicBezTo>
                  <a:pt x="1100" y="1123"/>
                  <a:pt x="1146" y="1169"/>
                  <a:pt x="1209" y="1169"/>
                </a:cubicBezTo>
                <a:cubicBezTo>
                  <a:pt x="1272" y="1169"/>
                  <a:pt x="1318" y="1122"/>
                  <a:pt x="1318" y="1064"/>
                </a:cubicBezTo>
                <a:cubicBezTo>
                  <a:pt x="1318" y="1063"/>
                  <a:pt x="1318" y="1063"/>
                  <a:pt x="1318" y="1063"/>
                </a:cubicBezTo>
                <a:cubicBezTo>
                  <a:pt x="1318" y="1005"/>
                  <a:pt x="1272" y="959"/>
                  <a:pt x="1209" y="959"/>
                </a:cubicBezTo>
                <a:close/>
                <a:moveTo>
                  <a:pt x="1262" y="1065"/>
                </a:moveTo>
                <a:cubicBezTo>
                  <a:pt x="1262" y="1095"/>
                  <a:pt x="1242" y="1120"/>
                  <a:pt x="1209" y="1120"/>
                </a:cubicBezTo>
                <a:cubicBezTo>
                  <a:pt x="1178" y="1120"/>
                  <a:pt x="1156" y="1094"/>
                  <a:pt x="1156" y="1064"/>
                </a:cubicBezTo>
                <a:cubicBezTo>
                  <a:pt x="1156" y="1063"/>
                  <a:pt x="1156" y="1063"/>
                  <a:pt x="1156" y="1063"/>
                </a:cubicBezTo>
                <a:cubicBezTo>
                  <a:pt x="1156" y="1034"/>
                  <a:pt x="1176" y="1008"/>
                  <a:pt x="1209" y="1008"/>
                </a:cubicBezTo>
                <a:cubicBezTo>
                  <a:pt x="1240" y="1008"/>
                  <a:pt x="1262" y="1034"/>
                  <a:pt x="1262" y="1064"/>
                </a:cubicBezTo>
                <a:lnTo>
                  <a:pt x="1262" y="1065"/>
                </a:lnTo>
                <a:close/>
                <a:moveTo>
                  <a:pt x="1389" y="1004"/>
                </a:moveTo>
                <a:cubicBezTo>
                  <a:pt x="1389" y="963"/>
                  <a:pt x="1389" y="963"/>
                  <a:pt x="1389" y="963"/>
                </a:cubicBezTo>
                <a:cubicBezTo>
                  <a:pt x="1332" y="963"/>
                  <a:pt x="1332" y="963"/>
                  <a:pt x="1332" y="963"/>
                </a:cubicBezTo>
                <a:cubicBezTo>
                  <a:pt x="1332" y="1165"/>
                  <a:pt x="1332" y="1165"/>
                  <a:pt x="1332" y="1165"/>
                </a:cubicBezTo>
                <a:cubicBezTo>
                  <a:pt x="1389" y="1165"/>
                  <a:pt x="1389" y="1165"/>
                  <a:pt x="1389" y="1165"/>
                </a:cubicBezTo>
                <a:cubicBezTo>
                  <a:pt x="1389" y="1090"/>
                  <a:pt x="1389" y="1090"/>
                  <a:pt x="1389" y="1090"/>
                </a:cubicBezTo>
                <a:cubicBezTo>
                  <a:pt x="1389" y="1042"/>
                  <a:pt x="1412" y="1019"/>
                  <a:pt x="1450" y="1019"/>
                </a:cubicBezTo>
                <a:cubicBezTo>
                  <a:pt x="1453" y="1019"/>
                  <a:pt x="1453" y="1019"/>
                  <a:pt x="1453" y="1019"/>
                </a:cubicBezTo>
                <a:cubicBezTo>
                  <a:pt x="1453" y="959"/>
                  <a:pt x="1453" y="959"/>
                  <a:pt x="1453" y="959"/>
                </a:cubicBezTo>
                <a:cubicBezTo>
                  <a:pt x="1419" y="958"/>
                  <a:pt x="1400" y="976"/>
                  <a:pt x="1389" y="1004"/>
                </a:cubicBezTo>
                <a:close/>
                <a:moveTo>
                  <a:pt x="1622" y="961"/>
                </a:moveTo>
                <a:cubicBezTo>
                  <a:pt x="1588" y="961"/>
                  <a:pt x="1566" y="967"/>
                  <a:pt x="1544" y="977"/>
                </a:cubicBezTo>
                <a:cubicBezTo>
                  <a:pt x="1558" y="1020"/>
                  <a:pt x="1558" y="1020"/>
                  <a:pt x="1558" y="1020"/>
                </a:cubicBezTo>
                <a:cubicBezTo>
                  <a:pt x="1576" y="1014"/>
                  <a:pt x="1592" y="1010"/>
                  <a:pt x="1614" y="1010"/>
                </a:cubicBezTo>
                <a:cubicBezTo>
                  <a:pt x="1642" y="1010"/>
                  <a:pt x="1657" y="1023"/>
                  <a:pt x="1657" y="1046"/>
                </a:cubicBezTo>
                <a:cubicBezTo>
                  <a:pt x="1657" y="1050"/>
                  <a:pt x="1657" y="1050"/>
                  <a:pt x="1657" y="1050"/>
                </a:cubicBezTo>
                <a:cubicBezTo>
                  <a:pt x="1643" y="1045"/>
                  <a:pt x="1628" y="1042"/>
                  <a:pt x="1608" y="1042"/>
                </a:cubicBezTo>
                <a:cubicBezTo>
                  <a:pt x="1560" y="1042"/>
                  <a:pt x="1526" y="1062"/>
                  <a:pt x="1526" y="1106"/>
                </a:cubicBezTo>
                <a:cubicBezTo>
                  <a:pt x="1526" y="1107"/>
                  <a:pt x="1526" y="1107"/>
                  <a:pt x="1526" y="1107"/>
                </a:cubicBezTo>
                <a:cubicBezTo>
                  <a:pt x="1526" y="1147"/>
                  <a:pt x="1558" y="1168"/>
                  <a:pt x="1596" y="1168"/>
                </a:cubicBezTo>
                <a:cubicBezTo>
                  <a:pt x="1624" y="1168"/>
                  <a:pt x="1643" y="1158"/>
                  <a:pt x="1657" y="1143"/>
                </a:cubicBezTo>
                <a:cubicBezTo>
                  <a:pt x="1657" y="1165"/>
                  <a:pt x="1657" y="1165"/>
                  <a:pt x="1657" y="1165"/>
                </a:cubicBezTo>
                <a:cubicBezTo>
                  <a:pt x="1712" y="1165"/>
                  <a:pt x="1712" y="1165"/>
                  <a:pt x="1712" y="1165"/>
                </a:cubicBezTo>
                <a:cubicBezTo>
                  <a:pt x="1712" y="1048"/>
                  <a:pt x="1712" y="1048"/>
                  <a:pt x="1712" y="1048"/>
                </a:cubicBezTo>
                <a:cubicBezTo>
                  <a:pt x="1712" y="1020"/>
                  <a:pt x="1705" y="998"/>
                  <a:pt x="1690" y="983"/>
                </a:cubicBezTo>
                <a:cubicBezTo>
                  <a:pt x="1676" y="969"/>
                  <a:pt x="1653" y="961"/>
                  <a:pt x="1622" y="961"/>
                </a:cubicBezTo>
                <a:close/>
                <a:moveTo>
                  <a:pt x="1658" y="1094"/>
                </a:moveTo>
                <a:cubicBezTo>
                  <a:pt x="1658" y="1114"/>
                  <a:pt x="1640" y="1129"/>
                  <a:pt x="1613" y="1129"/>
                </a:cubicBezTo>
                <a:cubicBezTo>
                  <a:pt x="1595" y="1129"/>
                  <a:pt x="1582" y="1120"/>
                  <a:pt x="1582" y="1104"/>
                </a:cubicBezTo>
                <a:cubicBezTo>
                  <a:pt x="1582" y="1104"/>
                  <a:pt x="1582" y="1104"/>
                  <a:pt x="1582" y="1104"/>
                </a:cubicBezTo>
                <a:cubicBezTo>
                  <a:pt x="1582" y="1086"/>
                  <a:pt x="1597" y="1076"/>
                  <a:pt x="1621" y="1076"/>
                </a:cubicBezTo>
                <a:cubicBezTo>
                  <a:pt x="1635" y="1076"/>
                  <a:pt x="1648" y="1079"/>
                  <a:pt x="1658" y="1083"/>
                </a:cubicBezTo>
                <a:lnTo>
                  <a:pt x="1658" y="1094"/>
                </a:lnTo>
                <a:close/>
                <a:moveTo>
                  <a:pt x="1736" y="1165"/>
                </a:moveTo>
                <a:cubicBezTo>
                  <a:pt x="1793" y="1165"/>
                  <a:pt x="1793" y="1165"/>
                  <a:pt x="1793" y="1165"/>
                </a:cubicBezTo>
                <a:cubicBezTo>
                  <a:pt x="1793" y="890"/>
                  <a:pt x="1793" y="890"/>
                  <a:pt x="1793" y="890"/>
                </a:cubicBezTo>
                <a:cubicBezTo>
                  <a:pt x="1736" y="890"/>
                  <a:pt x="1736" y="890"/>
                  <a:pt x="1736" y="890"/>
                </a:cubicBezTo>
                <a:lnTo>
                  <a:pt x="1736" y="1165"/>
                </a:lnTo>
                <a:close/>
                <a:moveTo>
                  <a:pt x="1817" y="1165"/>
                </a:moveTo>
                <a:cubicBezTo>
                  <a:pt x="1874" y="1165"/>
                  <a:pt x="1874" y="1165"/>
                  <a:pt x="1874" y="1165"/>
                </a:cubicBezTo>
                <a:cubicBezTo>
                  <a:pt x="1874" y="890"/>
                  <a:pt x="1874" y="890"/>
                  <a:pt x="1874" y="890"/>
                </a:cubicBezTo>
                <a:cubicBezTo>
                  <a:pt x="1817" y="890"/>
                  <a:pt x="1817" y="890"/>
                  <a:pt x="1817" y="890"/>
                </a:cubicBezTo>
                <a:lnTo>
                  <a:pt x="1817" y="1165"/>
                </a:lnTo>
                <a:close/>
                <a:moveTo>
                  <a:pt x="2086" y="0"/>
                </a:moveTo>
                <a:cubicBezTo>
                  <a:pt x="2086" y="1832"/>
                  <a:pt x="2086" y="1832"/>
                  <a:pt x="2086" y="1832"/>
                </a:cubicBezTo>
                <a:cubicBezTo>
                  <a:pt x="2697" y="1832"/>
                  <a:pt x="2697" y="1832"/>
                  <a:pt x="2697" y="1832"/>
                </a:cubicBezTo>
                <a:cubicBezTo>
                  <a:pt x="2697" y="0"/>
                  <a:pt x="2697" y="0"/>
                  <a:pt x="2697" y="0"/>
                </a:cubicBezTo>
                <a:lnTo>
                  <a:pt x="2086" y="0"/>
                </a:lnTo>
                <a:close/>
              </a:path>
            </a:pathLst>
          </a:custGeom>
          <a:solidFill>
            <a:srgbClr val="5B9BD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1428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BD9FA3A-719D-4312-85A6-533BC61D33D3}"/>
              </a:ext>
            </a:extLst>
          </p:cNvPr>
          <p:cNvGrpSpPr/>
          <p:nvPr userDrawn="1"/>
        </p:nvGrpSpPr>
        <p:grpSpPr>
          <a:xfrm>
            <a:off x="11291887" y="1987551"/>
            <a:ext cx="590550" cy="2868613"/>
            <a:chOff x="11291887" y="1987551"/>
            <a:chExt cx="590550" cy="2868613"/>
          </a:xfrm>
          <a:solidFill>
            <a:schemeClr val="bg1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DE4CA60-58EA-4EB1-AFB6-FB7A601BBE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18887" y="3471864"/>
              <a:ext cx="455612" cy="452438"/>
            </a:xfrm>
            <a:custGeom>
              <a:avLst/>
              <a:gdLst>
                <a:gd name="T0" fmla="*/ 0 w 239"/>
                <a:gd name="T1" fmla="*/ 96 h 237"/>
                <a:gd name="T2" fmla="*/ 38 w 239"/>
                <a:gd name="T3" fmla="*/ 173 h 237"/>
                <a:gd name="T4" fmla="*/ 38 w 239"/>
                <a:gd name="T5" fmla="*/ 173 h 237"/>
                <a:gd name="T6" fmla="*/ 38 w 239"/>
                <a:gd name="T7" fmla="*/ 173 h 237"/>
                <a:gd name="T8" fmla="*/ 4 w 239"/>
                <a:gd name="T9" fmla="*/ 173 h 237"/>
                <a:gd name="T10" fmla="*/ 4 w 239"/>
                <a:gd name="T11" fmla="*/ 237 h 237"/>
                <a:gd name="T12" fmla="*/ 239 w 239"/>
                <a:gd name="T13" fmla="*/ 237 h 237"/>
                <a:gd name="T14" fmla="*/ 239 w 239"/>
                <a:gd name="T15" fmla="*/ 173 h 237"/>
                <a:gd name="T16" fmla="*/ 105 w 239"/>
                <a:gd name="T17" fmla="*/ 173 h 237"/>
                <a:gd name="T18" fmla="*/ 56 w 239"/>
                <a:gd name="T19" fmla="*/ 119 h 237"/>
                <a:gd name="T20" fmla="*/ 105 w 239"/>
                <a:gd name="T21" fmla="*/ 65 h 237"/>
                <a:gd name="T22" fmla="*/ 239 w 239"/>
                <a:gd name="T23" fmla="*/ 65 h 237"/>
                <a:gd name="T24" fmla="*/ 239 w 239"/>
                <a:gd name="T25" fmla="*/ 0 h 237"/>
                <a:gd name="T26" fmla="*/ 93 w 239"/>
                <a:gd name="T27" fmla="*/ 0 h 237"/>
                <a:gd name="T28" fmla="*/ 0 w 239"/>
                <a:gd name="T29" fmla="*/ 9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9" h="237">
                  <a:moveTo>
                    <a:pt x="0" y="96"/>
                  </a:moveTo>
                  <a:cubicBezTo>
                    <a:pt x="0" y="123"/>
                    <a:pt x="13" y="154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4" y="173"/>
                    <a:pt x="4" y="173"/>
                    <a:pt x="4" y="173"/>
                  </a:cubicBezTo>
                  <a:cubicBezTo>
                    <a:pt x="4" y="237"/>
                    <a:pt x="4" y="237"/>
                    <a:pt x="4" y="237"/>
                  </a:cubicBezTo>
                  <a:cubicBezTo>
                    <a:pt x="239" y="237"/>
                    <a:pt x="239" y="237"/>
                    <a:pt x="239" y="237"/>
                  </a:cubicBezTo>
                  <a:cubicBezTo>
                    <a:pt x="239" y="173"/>
                    <a:pt x="239" y="173"/>
                    <a:pt x="239" y="173"/>
                  </a:cubicBezTo>
                  <a:cubicBezTo>
                    <a:pt x="105" y="173"/>
                    <a:pt x="105" y="173"/>
                    <a:pt x="105" y="173"/>
                  </a:cubicBezTo>
                  <a:cubicBezTo>
                    <a:pt x="81" y="173"/>
                    <a:pt x="56" y="154"/>
                    <a:pt x="56" y="119"/>
                  </a:cubicBezTo>
                  <a:cubicBezTo>
                    <a:pt x="56" y="93"/>
                    <a:pt x="74" y="65"/>
                    <a:pt x="105" y="65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39" y="0"/>
                    <a:pt x="0" y="39"/>
                    <a:pt x="0" y="9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7E4EB28-FB81-4DE8-AD93-A977C67F53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25237" y="2452689"/>
              <a:ext cx="449262" cy="506413"/>
            </a:xfrm>
            <a:custGeom>
              <a:avLst/>
              <a:gdLst>
                <a:gd name="T0" fmla="*/ 0 w 283"/>
                <a:gd name="T1" fmla="*/ 89 h 319"/>
                <a:gd name="T2" fmla="*/ 193 w 283"/>
                <a:gd name="T3" fmla="*/ 159 h 319"/>
                <a:gd name="T4" fmla="*/ 0 w 283"/>
                <a:gd name="T5" fmla="*/ 229 h 319"/>
                <a:gd name="T6" fmla="*/ 0 w 283"/>
                <a:gd name="T7" fmla="*/ 319 h 319"/>
                <a:gd name="T8" fmla="*/ 283 w 283"/>
                <a:gd name="T9" fmla="*/ 202 h 319"/>
                <a:gd name="T10" fmla="*/ 283 w 283"/>
                <a:gd name="T11" fmla="*/ 117 h 319"/>
                <a:gd name="T12" fmla="*/ 0 w 283"/>
                <a:gd name="T13" fmla="*/ 0 h 319"/>
                <a:gd name="T14" fmla="*/ 0 w 283"/>
                <a:gd name="T15" fmla="*/ 8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3" h="319">
                  <a:moveTo>
                    <a:pt x="0" y="89"/>
                  </a:moveTo>
                  <a:lnTo>
                    <a:pt x="193" y="159"/>
                  </a:lnTo>
                  <a:lnTo>
                    <a:pt x="0" y="229"/>
                  </a:lnTo>
                  <a:lnTo>
                    <a:pt x="0" y="319"/>
                  </a:lnTo>
                  <a:lnTo>
                    <a:pt x="283" y="202"/>
                  </a:lnTo>
                  <a:lnTo>
                    <a:pt x="283" y="117"/>
                  </a:lnTo>
                  <a:lnTo>
                    <a:pt x="0" y="0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B3C4138-764B-443B-8CDD-2E7E30EB03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3968751"/>
              <a:ext cx="463550" cy="471488"/>
            </a:xfrm>
            <a:custGeom>
              <a:avLst/>
              <a:gdLst>
                <a:gd name="T0" fmla="*/ 167 w 243"/>
                <a:gd name="T1" fmla="*/ 46 h 246"/>
                <a:gd name="T2" fmla="*/ 192 w 243"/>
                <a:gd name="T3" fmla="*/ 113 h 246"/>
                <a:gd name="T4" fmla="*/ 173 w 243"/>
                <a:gd name="T5" fmla="*/ 165 h 246"/>
                <a:gd name="T6" fmla="*/ 104 w 243"/>
                <a:gd name="T7" fmla="*/ 0 h 246"/>
                <a:gd name="T8" fmla="*/ 39 w 243"/>
                <a:gd name="T9" fmla="*/ 28 h 246"/>
                <a:gd name="T10" fmla="*/ 0 w 243"/>
                <a:gd name="T11" fmla="*/ 121 h 246"/>
                <a:gd name="T12" fmla="*/ 122 w 243"/>
                <a:gd name="T13" fmla="*/ 246 h 246"/>
                <a:gd name="T14" fmla="*/ 243 w 243"/>
                <a:gd name="T15" fmla="*/ 114 h 246"/>
                <a:gd name="T16" fmla="*/ 198 w 243"/>
                <a:gd name="T17" fmla="*/ 5 h 246"/>
                <a:gd name="T18" fmla="*/ 167 w 243"/>
                <a:gd name="T19" fmla="*/ 46 h 246"/>
                <a:gd name="T20" fmla="*/ 75 w 243"/>
                <a:gd name="T21" fmla="*/ 170 h 246"/>
                <a:gd name="T22" fmla="*/ 51 w 243"/>
                <a:gd name="T23" fmla="*/ 120 h 246"/>
                <a:gd name="T24" fmla="*/ 84 w 243"/>
                <a:gd name="T25" fmla="*/ 70 h 246"/>
                <a:gd name="T26" fmla="*/ 131 w 243"/>
                <a:gd name="T27" fmla="*/ 183 h 246"/>
                <a:gd name="T28" fmla="*/ 75 w 243"/>
                <a:gd name="T29" fmla="*/ 17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246">
                  <a:moveTo>
                    <a:pt x="167" y="46"/>
                  </a:moveTo>
                  <a:cubicBezTo>
                    <a:pt x="187" y="73"/>
                    <a:pt x="192" y="88"/>
                    <a:pt x="192" y="113"/>
                  </a:cubicBezTo>
                  <a:cubicBezTo>
                    <a:pt x="192" y="135"/>
                    <a:pt x="185" y="153"/>
                    <a:pt x="173" y="165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79" y="4"/>
                    <a:pt x="56" y="14"/>
                    <a:pt x="39" y="28"/>
                  </a:cubicBezTo>
                  <a:cubicBezTo>
                    <a:pt x="13" y="50"/>
                    <a:pt x="0" y="82"/>
                    <a:pt x="0" y="121"/>
                  </a:cubicBezTo>
                  <a:cubicBezTo>
                    <a:pt x="0" y="192"/>
                    <a:pt x="52" y="246"/>
                    <a:pt x="122" y="246"/>
                  </a:cubicBezTo>
                  <a:cubicBezTo>
                    <a:pt x="193" y="246"/>
                    <a:pt x="243" y="192"/>
                    <a:pt x="243" y="114"/>
                  </a:cubicBezTo>
                  <a:cubicBezTo>
                    <a:pt x="243" y="70"/>
                    <a:pt x="222" y="26"/>
                    <a:pt x="198" y="5"/>
                  </a:cubicBezTo>
                  <a:lnTo>
                    <a:pt x="167" y="46"/>
                  </a:lnTo>
                  <a:close/>
                  <a:moveTo>
                    <a:pt x="75" y="170"/>
                  </a:moveTo>
                  <a:cubicBezTo>
                    <a:pt x="60" y="159"/>
                    <a:pt x="51" y="141"/>
                    <a:pt x="51" y="120"/>
                  </a:cubicBezTo>
                  <a:cubicBezTo>
                    <a:pt x="51" y="97"/>
                    <a:pt x="65" y="79"/>
                    <a:pt x="84" y="70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07" y="186"/>
                    <a:pt x="88" y="180"/>
                    <a:pt x="75" y="1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4EAD685-9BD8-483A-98EA-90A681FB4D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1887" y="4451351"/>
              <a:ext cx="582612" cy="404813"/>
            </a:xfrm>
            <a:custGeom>
              <a:avLst/>
              <a:gdLst>
                <a:gd name="T0" fmla="*/ 296 w 367"/>
                <a:gd name="T1" fmla="*/ 0 h 255"/>
                <a:gd name="T2" fmla="*/ 296 w 367"/>
                <a:gd name="T3" fmla="*/ 177 h 255"/>
                <a:gd name="T4" fmla="*/ 0 w 367"/>
                <a:gd name="T5" fmla="*/ 177 h 255"/>
                <a:gd name="T6" fmla="*/ 0 w 367"/>
                <a:gd name="T7" fmla="*/ 255 h 255"/>
                <a:gd name="T8" fmla="*/ 367 w 367"/>
                <a:gd name="T9" fmla="*/ 255 h 255"/>
                <a:gd name="T10" fmla="*/ 367 w 367"/>
                <a:gd name="T11" fmla="*/ 0 h 255"/>
                <a:gd name="T12" fmla="*/ 296 w 367"/>
                <a:gd name="T13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7" h="255">
                  <a:moveTo>
                    <a:pt x="296" y="0"/>
                  </a:moveTo>
                  <a:lnTo>
                    <a:pt x="296" y="177"/>
                  </a:lnTo>
                  <a:lnTo>
                    <a:pt x="0" y="177"/>
                  </a:lnTo>
                  <a:lnTo>
                    <a:pt x="0" y="255"/>
                  </a:lnTo>
                  <a:lnTo>
                    <a:pt x="367" y="255"/>
                  </a:lnTo>
                  <a:lnTo>
                    <a:pt x="367" y="0"/>
                  </a:lnTo>
                  <a:lnTo>
                    <a:pt x="29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B7B79773-DE64-4E58-BD66-37C5AD48CC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1987551"/>
              <a:ext cx="463550" cy="484188"/>
            </a:xfrm>
            <a:custGeom>
              <a:avLst/>
              <a:gdLst>
                <a:gd name="T0" fmla="*/ 243 w 243"/>
                <a:gd name="T1" fmla="*/ 127 h 253"/>
                <a:gd name="T2" fmla="*/ 122 w 243"/>
                <a:gd name="T3" fmla="*/ 253 h 253"/>
                <a:gd name="T4" fmla="*/ 0 w 243"/>
                <a:gd name="T5" fmla="*/ 126 h 253"/>
                <a:gd name="T6" fmla="*/ 122 w 243"/>
                <a:gd name="T7" fmla="*/ 0 h 253"/>
                <a:gd name="T8" fmla="*/ 243 w 243"/>
                <a:gd name="T9" fmla="*/ 127 h 253"/>
                <a:gd name="T10" fmla="*/ 55 w 243"/>
                <a:gd name="T11" fmla="*/ 127 h 253"/>
                <a:gd name="T12" fmla="*/ 122 w 243"/>
                <a:gd name="T13" fmla="*/ 189 h 253"/>
                <a:gd name="T14" fmla="*/ 188 w 243"/>
                <a:gd name="T15" fmla="*/ 126 h 253"/>
                <a:gd name="T16" fmla="*/ 122 w 243"/>
                <a:gd name="T17" fmla="*/ 64 h 253"/>
                <a:gd name="T18" fmla="*/ 55 w 243"/>
                <a:gd name="T19" fmla="*/ 12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53">
                  <a:moveTo>
                    <a:pt x="243" y="127"/>
                  </a:moveTo>
                  <a:cubicBezTo>
                    <a:pt x="243" y="198"/>
                    <a:pt x="190" y="253"/>
                    <a:pt x="122" y="253"/>
                  </a:cubicBezTo>
                  <a:cubicBezTo>
                    <a:pt x="53" y="253"/>
                    <a:pt x="0" y="197"/>
                    <a:pt x="0" y="126"/>
                  </a:cubicBezTo>
                  <a:cubicBezTo>
                    <a:pt x="0" y="56"/>
                    <a:pt x="53" y="0"/>
                    <a:pt x="122" y="0"/>
                  </a:cubicBezTo>
                  <a:cubicBezTo>
                    <a:pt x="190" y="0"/>
                    <a:pt x="243" y="56"/>
                    <a:pt x="243" y="127"/>
                  </a:cubicBezTo>
                  <a:moveTo>
                    <a:pt x="55" y="127"/>
                  </a:moveTo>
                  <a:cubicBezTo>
                    <a:pt x="55" y="163"/>
                    <a:pt x="83" y="189"/>
                    <a:pt x="122" y="189"/>
                  </a:cubicBezTo>
                  <a:cubicBezTo>
                    <a:pt x="159" y="189"/>
                    <a:pt x="188" y="162"/>
                    <a:pt x="188" y="126"/>
                  </a:cubicBezTo>
                  <a:cubicBezTo>
                    <a:pt x="188" y="90"/>
                    <a:pt x="160" y="64"/>
                    <a:pt x="122" y="64"/>
                  </a:cubicBezTo>
                  <a:cubicBezTo>
                    <a:pt x="85" y="64"/>
                    <a:pt x="55" y="92"/>
                    <a:pt x="55" y="12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5FBF8CC-8CD8-4A45-B079-2EBAE2F88A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18887" y="2938464"/>
              <a:ext cx="463550" cy="484188"/>
            </a:xfrm>
            <a:custGeom>
              <a:avLst/>
              <a:gdLst>
                <a:gd name="T0" fmla="*/ 243 w 243"/>
                <a:gd name="T1" fmla="*/ 127 h 253"/>
                <a:gd name="T2" fmla="*/ 122 w 243"/>
                <a:gd name="T3" fmla="*/ 253 h 253"/>
                <a:gd name="T4" fmla="*/ 0 w 243"/>
                <a:gd name="T5" fmla="*/ 126 h 253"/>
                <a:gd name="T6" fmla="*/ 122 w 243"/>
                <a:gd name="T7" fmla="*/ 0 h 253"/>
                <a:gd name="T8" fmla="*/ 243 w 243"/>
                <a:gd name="T9" fmla="*/ 127 h 253"/>
                <a:gd name="T10" fmla="*/ 55 w 243"/>
                <a:gd name="T11" fmla="*/ 127 h 253"/>
                <a:gd name="T12" fmla="*/ 122 w 243"/>
                <a:gd name="T13" fmla="*/ 189 h 253"/>
                <a:gd name="T14" fmla="*/ 188 w 243"/>
                <a:gd name="T15" fmla="*/ 126 h 253"/>
                <a:gd name="T16" fmla="*/ 122 w 243"/>
                <a:gd name="T17" fmla="*/ 64 h 253"/>
                <a:gd name="T18" fmla="*/ 55 w 243"/>
                <a:gd name="T19" fmla="*/ 12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53">
                  <a:moveTo>
                    <a:pt x="243" y="127"/>
                  </a:moveTo>
                  <a:cubicBezTo>
                    <a:pt x="243" y="198"/>
                    <a:pt x="190" y="253"/>
                    <a:pt x="122" y="253"/>
                  </a:cubicBezTo>
                  <a:cubicBezTo>
                    <a:pt x="53" y="253"/>
                    <a:pt x="0" y="197"/>
                    <a:pt x="0" y="126"/>
                  </a:cubicBezTo>
                  <a:cubicBezTo>
                    <a:pt x="0" y="56"/>
                    <a:pt x="53" y="0"/>
                    <a:pt x="122" y="0"/>
                  </a:cubicBezTo>
                  <a:cubicBezTo>
                    <a:pt x="190" y="0"/>
                    <a:pt x="243" y="56"/>
                    <a:pt x="243" y="127"/>
                  </a:cubicBezTo>
                  <a:moveTo>
                    <a:pt x="55" y="127"/>
                  </a:moveTo>
                  <a:cubicBezTo>
                    <a:pt x="55" y="163"/>
                    <a:pt x="83" y="189"/>
                    <a:pt x="122" y="189"/>
                  </a:cubicBezTo>
                  <a:cubicBezTo>
                    <a:pt x="159" y="189"/>
                    <a:pt x="188" y="162"/>
                    <a:pt x="188" y="126"/>
                  </a:cubicBezTo>
                  <a:cubicBezTo>
                    <a:pt x="188" y="90"/>
                    <a:pt x="160" y="64"/>
                    <a:pt x="122" y="64"/>
                  </a:cubicBezTo>
                  <a:cubicBezTo>
                    <a:pt x="85" y="64"/>
                    <a:pt x="55" y="92"/>
                    <a:pt x="55" y="12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142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7" name="Google Shape;108;p23">
            <a:extLst>
              <a:ext uri="{FF2B5EF4-FFF2-40B4-BE49-F238E27FC236}">
                <a16:creationId xmlns:a16="http://schemas.microsoft.com/office/drawing/2014/main" id="{2A125763-B6E0-4FF8-9624-B7552B4C3F0D}"/>
              </a:ext>
            </a:extLst>
          </p:cNvPr>
          <p:cNvSpPr/>
          <p:nvPr userDrawn="1"/>
        </p:nvSpPr>
        <p:spPr>
          <a:xfrm>
            <a:off x="-1" y="0"/>
            <a:ext cx="1022385" cy="944880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B37546-82AC-4C1B-8D21-7FE7BFE25D1B}"/>
              </a:ext>
            </a:extLst>
          </p:cNvPr>
          <p:cNvSpPr/>
          <p:nvPr userDrawn="1"/>
        </p:nvSpPr>
        <p:spPr>
          <a:xfrm>
            <a:off x="0" y="6370320"/>
            <a:ext cx="3428866" cy="4858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543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Sec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322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oogle Shape;39;p7"/>
          <p:cNvPicPr preferRelativeResize="0"/>
          <p:nvPr/>
        </p:nvPicPr>
        <p:blipFill rotWithShape="1">
          <a:blip r:embed="rId6">
            <a:alphaModFix amt="15000"/>
          </a:blip>
          <a:srcRect t="8915" r="21399" b="26787"/>
          <a:stretch/>
        </p:blipFill>
        <p:spPr>
          <a:xfrm>
            <a:off x="4840834" y="0"/>
            <a:ext cx="735116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3085037"/>
            <a:ext cx="6602400" cy="1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4340233"/>
            <a:ext cx="6602400" cy="9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0"/>
            <a:ext cx="884903" cy="92322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CEAAC1-D522-426D-B9A3-B26F5DB2BE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932E54-7368-44D7-BD19-F41EFCCF9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oogle Shape;17;p3">
            <a:extLst>
              <a:ext uri="{FF2B5EF4-FFF2-40B4-BE49-F238E27FC236}">
                <a16:creationId xmlns:a16="http://schemas.microsoft.com/office/drawing/2014/main" id="{29747C31-6068-4D65-B180-B8288E4AFFA3}"/>
              </a:ext>
            </a:extLst>
          </p:cNvPr>
          <p:cNvSpPr/>
          <p:nvPr userDrawn="1"/>
        </p:nvSpPr>
        <p:spPr>
          <a:xfrm rot="5400000">
            <a:off x="1554060" y="3484035"/>
            <a:ext cx="29600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39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Main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46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343191"/>
            <a:ext cx="10751226" cy="38456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154" name="Footer Placeholder 4">
            <a:extLst>
              <a:ext uri="{FF2B5EF4-FFF2-40B4-BE49-F238E27FC236}">
                <a16:creationId xmlns:a16="http://schemas.microsoft.com/office/drawing/2014/main" id="{077DBD3E-34E8-4322-B325-A918E0097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Slide Number Placeholder 5">
            <a:extLst>
              <a:ext uri="{FF2B5EF4-FFF2-40B4-BE49-F238E27FC236}">
                <a16:creationId xmlns:a16="http://schemas.microsoft.com/office/drawing/2014/main" id="{B2681DC3-093A-4D06-B769-571F6455A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90726B3D-BDF5-42BE-B50F-BD212F326A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471938"/>
            <a:ext cx="10751226" cy="45349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2912563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>
          <p15:clr>
            <a:srgbClr val="FA7B17"/>
          </p15:clr>
        </p15:guide>
        <p15:guide id="2" pos="4992">
          <p15:clr>
            <a:srgbClr val="FA7B17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Confidential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43A244-F694-4783-9988-BD7BF229D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61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oogle Shape;562;p120">
            <a:extLst>
              <a:ext uri="{FF2B5EF4-FFF2-40B4-BE49-F238E27FC236}">
                <a16:creationId xmlns:a16="http://schemas.microsoft.com/office/drawing/2014/main" id="{4BE39BB3-9284-4D59-B69C-71C433BCA3EB}"/>
              </a:ext>
            </a:extLst>
          </p:cNvPr>
          <p:cNvPicPr preferRelativeResize="0"/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9067" y="2786128"/>
            <a:ext cx="4253868" cy="1127852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6" name="Google Shape;563;p120">
            <a:extLst>
              <a:ext uri="{FF2B5EF4-FFF2-40B4-BE49-F238E27FC236}">
                <a16:creationId xmlns:a16="http://schemas.microsoft.com/office/drawing/2014/main" id="{7794E8CD-5691-4171-9180-BC001F339A3C}"/>
              </a:ext>
            </a:extLst>
          </p:cNvPr>
          <p:cNvSpPr/>
          <p:nvPr userDrawn="1"/>
        </p:nvSpPr>
        <p:spPr>
          <a:xfrm rot="2700000">
            <a:off x="3603402" y="2451828"/>
            <a:ext cx="1837114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Google Shape;563;p120">
            <a:extLst>
              <a:ext uri="{FF2B5EF4-FFF2-40B4-BE49-F238E27FC236}">
                <a16:creationId xmlns:a16="http://schemas.microsoft.com/office/drawing/2014/main" id="{347D7040-37D0-45DC-A066-6E3D954D4260}"/>
              </a:ext>
            </a:extLst>
          </p:cNvPr>
          <p:cNvSpPr/>
          <p:nvPr userDrawn="1"/>
        </p:nvSpPr>
        <p:spPr>
          <a:xfrm rot="2700000">
            <a:off x="5177442" y="2451828"/>
            <a:ext cx="1837114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 dirty="0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Google Shape;563;p120">
            <a:extLst>
              <a:ext uri="{FF2B5EF4-FFF2-40B4-BE49-F238E27FC236}">
                <a16:creationId xmlns:a16="http://schemas.microsoft.com/office/drawing/2014/main" id="{62094DD6-243C-4383-BEDF-7C0642DB2545}"/>
              </a:ext>
            </a:extLst>
          </p:cNvPr>
          <p:cNvSpPr/>
          <p:nvPr userDrawn="1"/>
        </p:nvSpPr>
        <p:spPr>
          <a:xfrm rot="2700000">
            <a:off x="6762402" y="2451828"/>
            <a:ext cx="1837114" cy="1837114"/>
          </a:xfrm>
          <a:prstGeom prst="mathPlus">
            <a:avLst>
              <a:gd name="adj1" fmla="val 541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467">
              <a:solidFill>
                <a:srgbClr val="EDEDE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1C293C-D27F-4714-898E-17A3B3C377D1}"/>
              </a:ext>
            </a:extLst>
          </p:cNvPr>
          <p:cNvSpPr txBox="1"/>
          <p:nvPr userDrawn="1"/>
        </p:nvSpPr>
        <p:spPr>
          <a:xfrm>
            <a:off x="0" y="1911429"/>
            <a:ext cx="12192000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i="0" u="none" strike="noStrike" cap="none" dirty="0">
                <a:solidFill>
                  <a:srgbClr val="FF564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EASE KEEP THIS CONFIDENTIAL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DF3189-3C21-4848-AE58-F8E289676F71}"/>
              </a:ext>
            </a:extLst>
          </p:cNvPr>
          <p:cNvSpPr txBox="1"/>
          <p:nvPr userDrawn="1"/>
        </p:nvSpPr>
        <p:spPr>
          <a:xfrm>
            <a:off x="0" y="4347103"/>
            <a:ext cx="12191999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no pictures, video or audio recording, no tweeting, blogging or writing</a:t>
            </a:r>
          </a:p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bout this presentation on social media.</a:t>
            </a:r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F518CA2-BC31-4131-A91F-FF5F34092339}"/>
              </a:ext>
            </a:extLst>
          </p:cNvPr>
          <p:cNvSpPr/>
          <p:nvPr userDrawn="1"/>
        </p:nvSpPr>
        <p:spPr>
          <a:xfrm>
            <a:off x="0" y="0"/>
            <a:ext cx="1249680" cy="1036320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B1ACB0-D98E-4758-ABF5-E53375DA2DA9}"/>
              </a:ext>
            </a:extLst>
          </p:cNvPr>
          <p:cNvSpPr/>
          <p:nvPr userDrawn="1"/>
        </p:nvSpPr>
        <p:spPr>
          <a:xfrm>
            <a:off x="0" y="6370320"/>
            <a:ext cx="3428866" cy="4858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065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  <p:extLst>
    <p:ext uri="{DCECCB84-F9BA-43D5-87BE-67443E8EF086}">
      <p15:sldGuideLst xmlns:p15="http://schemas.microsoft.com/office/powerpoint/2012/main">
        <p15:guide id="1" pos="2688">
          <p15:clr>
            <a:srgbClr val="FA7B17"/>
          </p15:clr>
        </p15:guide>
        <p15:guide id="2" pos="4992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pening presentation 02" preserve="1">
  <p:cSld name="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569DF2-CA65-4D92-931B-6EF17FF21C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83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569DF2-CA65-4D92-931B-6EF17FF2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106;p23">
            <a:extLst>
              <a:ext uri="{FF2B5EF4-FFF2-40B4-BE49-F238E27FC236}">
                <a16:creationId xmlns:a16="http://schemas.microsoft.com/office/drawing/2014/main" id="{25C58ADC-AC70-40A6-98C2-8E532883266B}"/>
              </a:ext>
            </a:extLst>
          </p:cNvPr>
          <p:cNvPicPr preferRelativeResize="0"/>
          <p:nvPr userDrawn="1"/>
        </p:nvPicPr>
        <p:blipFill>
          <a:blip r:embed="rId6">
            <a:alphaModFix amt="90000"/>
          </a:blip>
          <a:stretch>
            <a:fillRect/>
          </a:stretch>
        </p:blipFill>
        <p:spPr>
          <a:xfrm flipH="1"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15;p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36900" y="2395267"/>
            <a:ext cx="2068902" cy="206746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3"/>
          <p:cNvSpPr/>
          <p:nvPr/>
        </p:nvSpPr>
        <p:spPr>
          <a:xfrm>
            <a:off x="2298800" y="2570600"/>
            <a:ext cx="29600" cy="171680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Google Shape;19;p3"/>
          <p:cNvSpPr/>
          <p:nvPr/>
        </p:nvSpPr>
        <p:spPr>
          <a:xfrm>
            <a:off x="0" y="0"/>
            <a:ext cx="949124" cy="949124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2592667" y="2563847"/>
            <a:ext cx="8989800" cy="7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title" idx="2"/>
          </p:nvPr>
        </p:nvSpPr>
        <p:spPr>
          <a:xfrm>
            <a:off x="2592667" y="3578780"/>
            <a:ext cx="8989800" cy="7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4258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opening sub-session 01" preserve="1">
  <p:cSld name="CoverLenov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4B77-D8D1-4A91-802F-139A3F7C0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215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4B77-D8D1-4A91-802F-139A3F7C0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Google Shape;40;p7"/>
          <p:cNvSpPr txBox="1">
            <a:spLocks noGrp="1"/>
          </p:cNvSpPr>
          <p:nvPr>
            <p:ph type="title"/>
          </p:nvPr>
        </p:nvSpPr>
        <p:spPr>
          <a:xfrm>
            <a:off x="745900" y="3085037"/>
            <a:ext cx="6602400" cy="1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41" name="Google Shape;41;p7"/>
          <p:cNvSpPr txBox="1">
            <a:spLocks noGrp="1"/>
          </p:cNvSpPr>
          <p:nvPr>
            <p:ph type="title" idx="2"/>
          </p:nvPr>
        </p:nvSpPr>
        <p:spPr>
          <a:xfrm>
            <a:off x="745900" y="4340233"/>
            <a:ext cx="6602400" cy="9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2850" rIns="0" bIns="182850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/>
            </a:lvl9pPr>
          </a:lstStyle>
          <a:p>
            <a:endParaRPr dirty="0"/>
          </a:p>
        </p:txBody>
      </p:sp>
      <p:sp>
        <p:nvSpPr>
          <p:cNvPr id="6" name="Google Shape;10;p2">
            <a:extLst>
              <a:ext uri="{FF2B5EF4-FFF2-40B4-BE49-F238E27FC236}">
                <a16:creationId xmlns:a16="http://schemas.microsoft.com/office/drawing/2014/main" id="{15A027C8-6BEA-4967-91EA-CCD151D3B370}"/>
              </a:ext>
            </a:extLst>
          </p:cNvPr>
          <p:cNvSpPr/>
          <p:nvPr userDrawn="1"/>
        </p:nvSpPr>
        <p:spPr>
          <a:xfrm>
            <a:off x="-1" y="0"/>
            <a:ext cx="884903" cy="923226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4976C0E-C86F-4BA6-8118-9634BE1594F1}"/>
              </a:ext>
            </a:extLst>
          </p:cNvPr>
          <p:cNvGrpSpPr>
            <a:grpSpLocks noChangeAspect="1"/>
          </p:cNvGrpSpPr>
          <p:nvPr userDrawn="1"/>
        </p:nvGrpSpPr>
        <p:grpSpPr>
          <a:xfrm rot="16200000">
            <a:off x="9855467" y="2024677"/>
            <a:ext cx="3499241" cy="1167475"/>
            <a:chOff x="547688" y="952500"/>
            <a:chExt cx="12190413" cy="406717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506FD29-FB84-4628-846C-DE92AA3A4C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218AD2-1FA1-4EE5-B6AB-CAA03844C2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3142E510-5E30-459D-A8CD-CC86013A10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446E7FA3-2B31-451D-9A9B-171F0EC3EF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63E6C69-341A-48FC-817F-5B7809F139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28FC713D-6AAE-4B06-BBD0-6194B85829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6F09BD37-D455-4FC0-A7FC-E1ACDDFDF6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907F3E3D-0EB7-452E-8AE3-0554ECC966EB}"/>
              </a:ext>
            </a:extLst>
          </p:cNvPr>
          <p:cNvSpPr/>
          <p:nvPr userDrawn="1"/>
        </p:nvSpPr>
        <p:spPr>
          <a:xfrm>
            <a:off x="0" y="6370320"/>
            <a:ext cx="3468624" cy="485892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6EDA322-E12F-4566-8825-912DB5F21D1C}"/>
              </a:ext>
            </a:extLst>
          </p:cNvPr>
          <p:cNvSpPr txBox="1"/>
          <p:nvPr userDrawn="1"/>
        </p:nvSpPr>
        <p:spPr>
          <a:xfrm>
            <a:off x="361346" y="6542096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956"/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rPr>
              <a:t>2020 Lenovo Confidential. All rights reserved.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5F351666-EA9D-4865-8646-8E20C9F41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Google Shape;17;p3">
            <a:extLst>
              <a:ext uri="{FF2B5EF4-FFF2-40B4-BE49-F238E27FC236}">
                <a16:creationId xmlns:a16="http://schemas.microsoft.com/office/drawing/2014/main" id="{4869EB4E-0EA7-4353-A0DB-55EB7CD403B3}"/>
              </a:ext>
            </a:extLst>
          </p:cNvPr>
          <p:cNvSpPr/>
          <p:nvPr userDrawn="1"/>
        </p:nvSpPr>
        <p:spPr>
          <a:xfrm rot="5400000">
            <a:off x="1554060" y="3484035"/>
            <a:ext cx="29600" cy="1645920"/>
          </a:xfrm>
          <a:prstGeom prst="roundRect">
            <a:avLst>
              <a:gd name="adj" fmla="val 16667"/>
            </a:avLst>
          </a:prstGeom>
          <a:solidFill>
            <a:srgbClr val="FF564E"/>
          </a:solidFill>
          <a:ln>
            <a:solidFill>
              <a:srgbClr val="FF564E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622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313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genda" preserve="1" userDrawn="1">
  <p:cSld name="Agenda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95EB3-2B30-4312-9FEC-6AF618B1A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454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95EB3-2B30-4312-9FEC-6AF618B1A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698533" y="2924800"/>
            <a:ext cx="4397200" cy="10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 dirty="0"/>
          </a:p>
        </p:txBody>
      </p:sp>
      <p:sp>
        <p:nvSpPr>
          <p:cNvPr id="29" name="Google Shape;29;p6"/>
          <p:cNvSpPr txBox="1">
            <a:spLocks noGrp="1"/>
          </p:cNvSpPr>
          <p:nvPr>
            <p:ph type="title" idx="3"/>
          </p:nvPr>
        </p:nvSpPr>
        <p:spPr>
          <a:xfrm>
            <a:off x="6287600" y="170543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title" idx="4"/>
          </p:nvPr>
        </p:nvSpPr>
        <p:spPr>
          <a:xfrm>
            <a:off x="6287600" y="328531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 idx="5"/>
          </p:nvPr>
        </p:nvSpPr>
        <p:spPr>
          <a:xfrm>
            <a:off x="6287600" y="486519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 idx="8"/>
          </p:nvPr>
        </p:nvSpPr>
        <p:spPr>
          <a:xfrm>
            <a:off x="6287600" y="249537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 idx="9"/>
          </p:nvPr>
        </p:nvSpPr>
        <p:spPr>
          <a:xfrm>
            <a:off x="6287600" y="4075253"/>
            <a:ext cx="5294800" cy="3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/>
            </a:lvl9pPr>
          </a:lstStyle>
          <a:p>
            <a:endParaRPr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1394C7D-ECF2-4A9A-85D3-7F216E60A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24E14E7-D459-4D7D-8045-CCAF5FF4E2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E77156-54D9-420F-9900-4CE57EA19863}"/>
              </a:ext>
            </a:extLst>
          </p:cNvPr>
          <p:cNvSpPr/>
          <p:nvPr userDrawn="1"/>
        </p:nvSpPr>
        <p:spPr>
          <a:xfrm>
            <a:off x="0" y="0"/>
            <a:ext cx="896293" cy="887240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6742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MainLanov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97794-0C82-4CF0-BC7F-A0F4C0244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50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97794-0C82-4CF0-BC7F-A0F4C0244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343191"/>
            <a:ext cx="10751226" cy="38456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D8C7066-4E9D-4AEE-AAF8-7646E3783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38BEB-90F1-4764-A5E7-B2957856B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52">
            <a:extLst>
              <a:ext uri="{FF2B5EF4-FFF2-40B4-BE49-F238E27FC236}">
                <a16:creationId xmlns:a16="http://schemas.microsoft.com/office/drawing/2014/main" id="{D0A0BE6D-6D41-46E4-9814-DA70C447C1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471938"/>
            <a:ext cx="10751226" cy="45349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lang="en-US" sz="1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334091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>
          <p15:clr>
            <a:srgbClr val="FA7B17"/>
          </p15:clr>
        </p15:guide>
        <p15:guide id="2" pos="4992">
          <p15:clr>
            <a:srgbClr val="FA7B17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 1/3 page" preserve="1" userDrawn="1">
  <p:cSld name="ContentLenov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8A0EFE-ECA9-4BD0-8104-2E6FC3D5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30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43D8763-2686-439C-ADD8-BEF823686552}"/>
              </a:ext>
            </a:extLst>
          </p:cNvPr>
          <p:cNvSpPr/>
          <p:nvPr userDrawn="1"/>
        </p:nvSpPr>
        <p:spPr>
          <a:xfrm>
            <a:off x="0" y="0"/>
            <a:ext cx="802640" cy="828040"/>
          </a:xfrm>
          <a:prstGeom prst="rect">
            <a:avLst/>
          </a:prstGeom>
          <a:solidFill>
            <a:srgbClr val="001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7B1811D8-E849-4ACA-8446-F6E2FD56C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343191"/>
            <a:ext cx="10751226" cy="384568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96973D0-1672-4A99-A2A0-D4EB7C5B45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2352449-8281-454C-97D1-ABDFCCE9772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65954" y="342028"/>
            <a:ext cx="385731" cy="385731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rgbClr val="6F717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EC554F8-4913-4407-B22C-070F3C27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52">
            <a:extLst>
              <a:ext uri="{FF2B5EF4-FFF2-40B4-BE49-F238E27FC236}">
                <a16:creationId xmlns:a16="http://schemas.microsoft.com/office/drawing/2014/main" id="{2BFB7EA0-8709-4F89-A4DB-CB282D06B7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9636" y="1471938"/>
            <a:ext cx="10751226" cy="45349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def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lang="en-US" sz="12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</a:lstStyle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597201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8">
          <p15:clr>
            <a:srgbClr val="FA7B17"/>
          </p15:clr>
        </p15:guide>
        <p15:guide id="2" pos="4992">
          <p15:clr>
            <a:srgbClr val="FA7B17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simple-light-2"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7233259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343191"/>
            <a:ext cx="10751226" cy="38456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Google Shape;7;p1">
            <a:extLst>
              <a:ext uri="{FF2B5EF4-FFF2-40B4-BE49-F238E27FC236}">
                <a16:creationId xmlns:a16="http://schemas.microsoft.com/office/drawing/2014/main" id="{C8E8893B-5F7B-43C5-BAC7-DCED1F3507C8}"/>
              </a:ext>
            </a:extLst>
          </p:cNvPr>
          <p:cNvPicPr preferRelativeResize="0"/>
          <p:nvPr userDrawn="1"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0" y="32555"/>
            <a:ext cx="1005840" cy="100584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942FE8D-AB6D-4F91-A827-F2A1CC5202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711EB73-CA00-4F91-9A92-363704647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7C90B4-7EB8-4A3B-AEF8-F69B9E84B3DA}"/>
              </a:ext>
            </a:extLst>
          </p:cNvPr>
          <p:cNvSpPr txBox="1"/>
          <p:nvPr userDrawn="1"/>
        </p:nvSpPr>
        <p:spPr>
          <a:xfrm>
            <a:off x="232832" y="6542096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defTabSz="1218956">
              <a:defRPr sz="900">
                <a:solidFill>
                  <a:prstClr val="whit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0" i="0" u="none" strike="noStrike" cap="none" dirty="0">
                <a:solidFill>
                  <a:srgbClr val="FFFFFF"/>
                </a:solidFill>
                <a:latin typeface="Arial" pitchFamily="34" charset="0"/>
                <a:ea typeface="Montserrat"/>
                <a:cs typeface="Arial" panose="020B0604020202020204" pitchFamily="34" charset="0"/>
                <a:sym typeface="Arial" panose="020B0604020202020204" pitchFamily="34" charset="0"/>
              </a:rPr>
              <a:t>© 2020., Motorola Mobility LLC. CONFIDENTIAL.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54AF0DE3-22F6-4AF7-9A2C-0A864DC445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471938"/>
            <a:ext cx="10751226" cy="45349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00" r:id="rId1"/>
    <p:sldLayoutId id="2147483696" r:id="rId2"/>
    <p:sldLayoutId id="2147483702" r:id="rId3"/>
    <p:sldLayoutId id="2147483685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25425" marR="0" lvl="0" indent="-225425" algn="l" rtl="0">
        <a:lnSpc>
          <a:spcPct val="100000"/>
        </a:lnSpc>
        <a:spcBef>
          <a:spcPts val="0"/>
        </a:spcBef>
        <a:spcAft>
          <a:spcPts val="0"/>
        </a:spcAft>
        <a:buClr>
          <a:srgbClr val="FFC000"/>
        </a:buClr>
        <a:buFont typeface="Wingdings" panose="05000000000000000000" pitchFamily="2" charset="2"/>
        <a:buChar char="§"/>
        <a:defRPr sz="1600" b="1" i="0" u="none" strike="noStrike" cap="none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461963" marR="0" lvl="1" indent="-236538" algn="l" rtl="0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−"/>
        <a:defRPr sz="1400" b="0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688975" marR="0" lvl="2" indent="-227013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75000"/>
          </a:schemeClr>
        </a:buClr>
        <a:buFont typeface="Arial" panose="020B0604020202020204" pitchFamily="34" charset="0"/>
        <a:buChar char="•"/>
        <a:defRPr lang="en-US" sz="1200" b="0" i="0" u="none" strike="noStrike" cap="none" dirty="0" smtClean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628650" marR="0" lvl="3" indent="-166688" algn="l" rtl="0">
        <a:lnSpc>
          <a:spcPct val="100000"/>
        </a:lnSpc>
        <a:spcBef>
          <a:spcPts val="0"/>
        </a:spcBef>
        <a:spcAft>
          <a:spcPts val="0"/>
        </a:spcAft>
        <a:buClr>
          <a:schemeClr val="bg2">
            <a:lumMod val="85000"/>
          </a:schemeClr>
        </a:buClr>
        <a:buFont typeface="Arial" panose="020B0604020202020204" pitchFamily="34" charset="0"/>
        <a:buChar char="•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chemeClr val="tx1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384" userDrawn="1">
          <p15:clr>
            <a:srgbClr val="EA4335"/>
          </p15:clr>
        </p15:guide>
        <p15:guide id="3" orient="horz" pos="3967" userDrawn="1">
          <p15:clr>
            <a:srgbClr val="EA4335"/>
          </p15:clr>
        </p15:guide>
        <p15:guide id="4" pos="7296" userDrawn="1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F40892-D06C-454E-A1E9-C25068071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0513647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F40892-D06C-454E-A1E9-C25068071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;p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0" y="32555"/>
            <a:ext cx="1005840" cy="100584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97CF87B-A69A-4BAD-B4BE-3E42F45B5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36" y="343191"/>
            <a:ext cx="10751226" cy="38456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5" name="Footer Placeholder 4">
            <a:extLst>
              <a:ext uri="{FF2B5EF4-FFF2-40B4-BE49-F238E27FC236}">
                <a16:creationId xmlns:a16="http://schemas.microsoft.com/office/drawing/2014/main" id="{3300E7D5-1F75-4C78-84BC-491606122F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6605" y="6224824"/>
            <a:ext cx="8130345" cy="2423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Slide Number Placeholder 5">
            <a:extLst>
              <a:ext uri="{FF2B5EF4-FFF2-40B4-BE49-F238E27FC236}">
                <a16:creationId xmlns:a16="http://schemas.microsoft.com/office/drawing/2014/main" id="{B31EFBFD-81B0-4146-9AFB-9C343778E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9620" y="6491276"/>
            <a:ext cx="1029548" cy="195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F26B3D9-8520-4E55-BDA0-22441C8C788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48FC8AF-91BB-4240-83E6-DE26ABBA4F1C}"/>
              </a:ext>
            </a:extLst>
          </p:cNvPr>
          <p:cNvGrpSpPr/>
          <p:nvPr userDrawn="1"/>
        </p:nvGrpSpPr>
        <p:grpSpPr>
          <a:xfrm>
            <a:off x="231842" y="6487882"/>
            <a:ext cx="712867" cy="237838"/>
            <a:chOff x="547688" y="952500"/>
            <a:chExt cx="12190413" cy="4067175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31F15A2-5A38-4298-AD0F-2FD59F93CB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688" y="952500"/>
              <a:ext cx="12190413" cy="4067175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7A64E439-DEE2-4877-BC15-CE3760883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838" y="2319338"/>
              <a:ext cx="1571625" cy="1590675"/>
            </a:xfrm>
            <a:custGeom>
              <a:avLst/>
              <a:gdLst>
                <a:gd name="T0" fmla="*/ 492 w 825"/>
                <a:gd name="T1" fmla="*/ 0 h 834"/>
                <a:gd name="T2" fmla="*/ 225 w 825"/>
                <a:gd name="T3" fmla="*/ 132 h 834"/>
                <a:gd name="T4" fmla="*/ 225 w 825"/>
                <a:gd name="T5" fmla="*/ 132 h 834"/>
                <a:gd name="T6" fmla="*/ 225 w 825"/>
                <a:gd name="T7" fmla="*/ 132 h 834"/>
                <a:gd name="T8" fmla="*/ 225 w 825"/>
                <a:gd name="T9" fmla="*/ 14 h 834"/>
                <a:gd name="T10" fmla="*/ 0 w 825"/>
                <a:gd name="T11" fmla="*/ 14 h 834"/>
                <a:gd name="T12" fmla="*/ 0 w 825"/>
                <a:gd name="T13" fmla="*/ 834 h 834"/>
                <a:gd name="T14" fmla="*/ 225 w 825"/>
                <a:gd name="T15" fmla="*/ 834 h 834"/>
                <a:gd name="T16" fmla="*/ 225 w 825"/>
                <a:gd name="T17" fmla="*/ 367 h 834"/>
                <a:gd name="T18" fmla="*/ 411 w 825"/>
                <a:gd name="T19" fmla="*/ 194 h 834"/>
                <a:gd name="T20" fmla="*/ 600 w 825"/>
                <a:gd name="T21" fmla="*/ 367 h 834"/>
                <a:gd name="T22" fmla="*/ 600 w 825"/>
                <a:gd name="T23" fmla="*/ 834 h 834"/>
                <a:gd name="T24" fmla="*/ 825 w 825"/>
                <a:gd name="T25" fmla="*/ 834 h 834"/>
                <a:gd name="T26" fmla="*/ 825 w 825"/>
                <a:gd name="T27" fmla="*/ 326 h 834"/>
                <a:gd name="T28" fmla="*/ 492 w 825"/>
                <a:gd name="T2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834">
                  <a:moveTo>
                    <a:pt x="492" y="0"/>
                  </a:moveTo>
                  <a:cubicBezTo>
                    <a:pt x="398" y="0"/>
                    <a:pt x="291" y="44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25" y="14"/>
                    <a:pt x="225" y="14"/>
                    <a:pt x="22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834"/>
                    <a:pt x="0" y="834"/>
                    <a:pt x="0" y="834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5" y="367"/>
                    <a:pt x="225" y="367"/>
                    <a:pt x="225" y="367"/>
                  </a:cubicBezTo>
                  <a:cubicBezTo>
                    <a:pt x="225" y="283"/>
                    <a:pt x="290" y="194"/>
                    <a:pt x="411" y="194"/>
                  </a:cubicBezTo>
                  <a:cubicBezTo>
                    <a:pt x="504" y="194"/>
                    <a:pt x="600" y="259"/>
                    <a:pt x="600" y="367"/>
                  </a:cubicBezTo>
                  <a:cubicBezTo>
                    <a:pt x="600" y="834"/>
                    <a:pt x="600" y="834"/>
                    <a:pt x="600" y="834"/>
                  </a:cubicBezTo>
                  <a:cubicBezTo>
                    <a:pt x="825" y="834"/>
                    <a:pt x="825" y="834"/>
                    <a:pt x="825" y="834"/>
                  </a:cubicBezTo>
                  <a:cubicBezTo>
                    <a:pt x="825" y="326"/>
                    <a:pt x="825" y="326"/>
                    <a:pt x="825" y="326"/>
                  </a:cubicBezTo>
                  <a:cubicBezTo>
                    <a:pt x="825" y="137"/>
                    <a:pt x="690" y="0"/>
                    <a:pt x="49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1DB8B8CB-23BA-40E7-BCD7-167667964D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7225" y="2346325"/>
              <a:ext cx="1755775" cy="1563688"/>
            </a:xfrm>
            <a:custGeom>
              <a:avLst/>
              <a:gdLst>
                <a:gd name="T0" fmla="*/ 797 w 1106"/>
                <a:gd name="T1" fmla="*/ 0 h 985"/>
                <a:gd name="T2" fmla="*/ 553 w 1106"/>
                <a:gd name="T3" fmla="*/ 671 h 985"/>
                <a:gd name="T4" fmla="*/ 308 w 1106"/>
                <a:gd name="T5" fmla="*/ 0 h 985"/>
                <a:gd name="T6" fmla="*/ 0 w 1106"/>
                <a:gd name="T7" fmla="*/ 0 h 985"/>
                <a:gd name="T8" fmla="*/ 405 w 1106"/>
                <a:gd name="T9" fmla="*/ 985 h 985"/>
                <a:gd name="T10" fmla="*/ 701 w 1106"/>
                <a:gd name="T11" fmla="*/ 985 h 985"/>
                <a:gd name="T12" fmla="*/ 1106 w 1106"/>
                <a:gd name="T13" fmla="*/ 0 h 985"/>
                <a:gd name="T14" fmla="*/ 797 w 1106"/>
                <a:gd name="T15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6" h="985">
                  <a:moveTo>
                    <a:pt x="797" y="0"/>
                  </a:moveTo>
                  <a:lnTo>
                    <a:pt x="553" y="671"/>
                  </a:lnTo>
                  <a:lnTo>
                    <a:pt x="308" y="0"/>
                  </a:lnTo>
                  <a:lnTo>
                    <a:pt x="0" y="0"/>
                  </a:lnTo>
                  <a:lnTo>
                    <a:pt x="405" y="985"/>
                  </a:lnTo>
                  <a:lnTo>
                    <a:pt x="701" y="985"/>
                  </a:lnTo>
                  <a:lnTo>
                    <a:pt x="1106" y="0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D19BFB36-6D6C-4525-9C2B-53996F8C7F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8488" y="2319338"/>
              <a:ext cx="1630363" cy="1617663"/>
            </a:xfrm>
            <a:custGeom>
              <a:avLst/>
              <a:gdLst>
                <a:gd name="T0" fmla="*/ 697 w 856"/>
                <a:gd name="T1" fmla="*/ 582 h 848"/>
                <a:gd name="T2" fmla="*/ 462 w 856"/>
                <a:gd name="T3" fmla="*/ 669 h 848"/>
                <a:gd name="T4" fmla="*/ 280 w 856"/>
                <a:gd name="T5" fmla="*/ 602 h 848"/>
                <a:gd name="T6" fmla="*/ 856 w 856"/>
                <a:gd name="T7" fmla="*/ 363 h 848"/>
                <a:gd name="T8" fmla="*/ 758 w 856"/>
                <a:gd name="T9" fmla="*/ 135 h 848"/>
                <a:gd name="T10" fmla="*/ 434 w 856"/>
                <a:gd name="T11" fmla="*/ 0 h 848"/>
                <a:gd name="T12" fmla="*/ 0 w 856"/>
                <a:gd name="T13" fmla="*/ 424 h 848"/>
                <a:gd name="T14" fmla="*/ 459 w 856"/>
                <a:gd name="T15" fmla="*/ 848 h 848"/>
                <a:gd name="T16" fmla="*/ 840 w 856"/>
                <a:gd name="T17" fmla="*/ 691 h 848"/>
                <a:gd name="T18" fmla="*/ 697 w 856"/>
                <a:gd name="T19" fmla="*/ 582 h 848"/>
                <a:gd name="T20" fmla="*/ 265 w 856"/>
                <a:gd name="T21" fmla="*/ 261 h 848"/>
                <a:gd name="T22" fmla="*/ 438 w 856"/>
                <a:gd name="T23" fmla="*/ 179 h 848"/>
                <a:gd name="T24" fmla="*/ 612 w 856"/>
                <a:gd name="T25" fmla="*/ 294 h 848"/>
                <a:gd name="T26" fmla="*/ 219 w 856"/>
                <a:gd name="T27" fmla="*/ 457 h 848"/>
                <a:gd name="T28" fmla="*/ 265 w 856"/>
                <a:gd name="T29" fmla="*/ 261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6" h="848">
                  <a:moveTo>
                    <a:pt x="697" y="582"/>
                  </a:moveTo>
                  <a:cubicBezTo>
                    <a:pt x="602" y="652"/>
                    <a:pt x="548" y="669"/>
                    <a:pt x="462" y="669"/>
                  </a:cubicBezTo>
                  <a:cubicBezTo>
                    <a:pt x="384" y="669"/>
                    <a:pt x="323" y="645"/>
                    <a:pt x="280" y="602"/>
                  </a:cubicBezTo>
                  <a:cubicBezTo>
                    <a:pt x="856" y="363"/>
                    <a:pt x="856" y="363"/>
                    <a:pt x="856" y="363"/>
                  </a:cubicBezTo>
                  <a:cubicBezTo>
                    <a:pt x="843" y="275"/>
                    <a:pt x="810" y="195"/>
                    <a:pt x="758" y="135"/>
                  </a:cubicBezTo>
                  <a:cubicBezTo>
                    <a:pt x="682" y="47"/>
                    <a:pt x="570" y="0"/>
                    <a:pt x="434" y="0"/>
                  </a:cubicBezTo>
                  <a:cubicBezTo>
                    <a:pt x="186" y="0"/>
                    <a:pt x="0" y="183"/>
                    <a:pt x="0" y="424"/>
                  </a:cubicBezTo>
                  <a:cubicBezTo>
                    <a:pt x="0" y="672"/>
                    <a:pt x="187" y="848"/>
                    <a:pt x="459" y="848"/>
                  </a:cubicBezTo>
                  <a:cubicBezTo>
                    <a:pt x="611" y="848"/>
                    <a:pt x="767" y="776"/>
                    <a:pt x="840" y="691"/>
                  </a:cubicBezTo>
                  <a:lnTo>
                    <a:pt x="697" y="582"/>
                  </a:lnTo>
                  <a:close/>
                  <a:moveTo>
                    <a:pt x="265" y="261"/>
                  </a:moveTo>
                  <a:cubicBezTo>
                    <a:pt x="303" y="210"/>
                    <a:pt x="364" y="179"/>
                    <a:pt x="438" y="179"/>
                  </a:cubicBezTo>
                  <a:cubicBezTo>
                    <a:pt x="519" y="179"/>
                    <a:pt x="581" y="226"/>
                    <a:pt x="612" y="294"/>
                  </a:cubicBezTo>
                  <a:cubicBezTo>
                    <a:pt x="219" y="457"/>
                    <a:pt x="219" y="457"/>
                    <a:pt x="219" y="457"/>
                  </a:cubicBezTo>
                  <a:cubicBezTo>
                    <a:pt x="208" y="374"/>
                    <a:pt x="230" y="308"/>
                    <a:pt x="265" y="2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ECCC0E60-3639-4D36-9A44-D9347B7EB3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5925" y="1879600"/>
              <a:ext cx="1409700" cy="2030413"/>
            </a:xfrm>
            <a:custGeom>
              <a:avLst/>
              <a:gdLst>
                <a:gd name="T0" fmla="*/ 888 w 888"/>
                <a:gd name="T1" fmla="*/ 1030 h 1279"/>
                <a:gd name="T2" fmla="*/ 274 w 888"/>
                <a:gd name="T3" fmla="*/ 1030 h 1279"/>
                <a:gd name="T4" fmla="*/ 274 w 888"/>
                <a:gd name="T5" fmla="*/ 0 h 1279"/>
                <a:gd name="T6" fmla="*/ 0 w 888"/>
                <a:gd name="T7" fmla="*/ 0 h 1279"/>
                <a:gd name="T8" fmla="*/ 0 w 888"/>
                <a:gd name="T9" fmla="*/ 1279 h 1279"/>
                <a:gd name="T10" fmla="*/ 888 w 888"/>
                <a:gd name="T11" fmla="*/ 1279 h 1279"/>
                <a:gd name="T12" fmla="*/ 888 w 888"/>
                <a:gd name="T13" fmla="*/ 1030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8" h="1279">
                  <a:moveTo>
                    <a:pt x="888" y="1030"/>
                  </a:moveTo>
                  <a:lnTo>
                    <a:pt x="274" y="1030"/>
                  </a:lnTo>
                  <a:lnTo>
                    <a:pt x="274" y="0"/>
                  </a:lnTo>
                  <a:lnTo>
                    <a:pt x="0" y="0"/>
                  </a:lnTo>
                  <a:lnTo>
                    <a:pt x="0" y="1279"/>
                  </a:lnTo>
                  <a:lnTo>
                    <a:pt x="888" y="1279"/>
                  </a:lnTo>
                  <a:lnTo>
                    <a:pt x="888" y="10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F3000ABD-B92F-4B63-91F1-46D089A198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66325" y="2319338"/>
              <a:ext cx="1677988" cy="1617663"/>
            </a:xfrm>
            <a:custGeom>
              <a:avLst/>
              <a:gdLst>
                <a:gd name="T0" fmla="*/ 439 w 881"/>
                <a:gd name="T1" fmla="*/ 848 h 848"/>
                <a:gd name="T2" fmla="*/ 0 w 881"/>
                <a:gd name="T3" fmla="*/ 424 h 848"/>
                <a:gd name="T4" fmla="*/ 442 w 881"/>
                <a:gd name="T5" fmla="*/ 0 h 848"/>
                <a:gd name="T6" fmla="*/ 881 w 881"/>
                <a:gd name="T7" fmla="*/ 424 h 848"/>
                <a:gd name="T8" fmla="*/ 439 w 881"/>
                <a:gd name="T9" fmla="*/ 848 h 848"/>
                <a:gd name="T10" fmla="*/ 439 w 881"/>
                <a:gd name="T11" fmla="*/ 193 h 848"/>
                <a:gd name="T12" fmla="*/ 222 w 881"/>
                <a:gd name="T13" fmla="*/ 424 h 848"/>
                <a:gd name="T14" fmla="*/ 442 w 881"/>
                <a:gd name="T15" fmla="*/ 655 h 848"/>
                <a:gd name="T16" fmla="*/ 659 w 881"/>
                <a:gd name="T17" fmla="*/ 424 h 848"/>
                <a:gd name="T18" fmla="*/ 439 w 881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1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4" y="0"/>
                    <a:pt x="442" y="0"/>
                  </a:cubicBezTo>
                  <a:cubicBezTo>
                    <a:pt x="688" y="0"/>
                    <a:pt x="881" y="184"/>
                    <a:pt x="881" y="424"/>
                  </a:cubicBezTo>
                  <a:cubicBezTo>
                    <a:pt x="881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3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59" y="557"/>
                    <a:pt x="659" y="424"/>
                  </a:cubicBezTo>
                  <a:cubicBezTo>
                    <a:pt x="659" y="295"/>
                    <a:pt x="562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68F07E48-CABE-416D-B956-ABAA79B9B5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64325" y="2319338"/>
              <a:ext cx="1679575" cy="1617663"/>
            </a:xfrm>
            <a:custGeom>
              <a:avLst/>
              <a:gdLst>
                <a:gd name="T0" fmla="*/ 439 w 882"/>
                <a:gd name="T1" fmla="*/ 848 h 848"/>
                <a:gd name="T2" fmla="*/ 0 w 882"/>
                <a:gd name="T3" fmla="*/ 424 h 848"/>
                <a:gd name="T4" fmla="*/ 442 w 882"/>
                <a:gd name="T5" fmla="*/ 0 h 848"/>
                <a:gd name="T6" fmla="*/ 882 w 882"/>
                <a:gd name="T7" fmla="*/ 424 h 848"/>
                <a:gd name="T8" fmla="*/ 439 w 882"/>
                <a:gd name="T9" fmla="*/ 848 h 848"/>
                <a:gd name="T10" fmla="*/ 439 w 882"/>
                <a:gd name="T11" fmla="*/ 193 h 848"/>
                <a:gd name="T12" fmla="*/ 222 w 882"/>
                <a:gd name="T13" fmla="*/ 424 h 848"/>
                <a:gd name="T14" fmla="*/ 442 w 882"/>
                <a:gd name="T15" fmla="*/ 655 h 848"/>
                <a:gd name="T16" fmla="*/ 660 w 882"/>
                <a:gd name="T17" fmla="*/ 424 h 848"/>
                <a:gd name="T18" fmla="*/ 439 w 882"/>
                <a:gd name="T19" fmla="*/ 19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2" h="848">
                  <a:moveTo>
                    <a:pt x="439" y="848"/>
                  </a:moveTo>
                  <a:cubicBezTo>
                    <a:pt x="193" y="848"/>
                    <a:pt x="0" y="664"/>
                    <a:pt x="0" y="424"/>
                  </a:cubicBezTo>
                  <a:cubicBezTo>
                    <a:pt x="0" y="186"/>
                    <a:pt x="195" y="0"/>
                    <a:pt x="442" y="0"/>
                  </a:cubicBezTo>
                  <a:cubicBezTo>
                    <a:pt x="689" y="0"/>
                    <a:pt x="882" y="184"/>
                    <a:pt x="882" y="424"/>
                  </a:cubicBezTo>
                  <a:cubicBezTo>
                    <a:pt x="882" y="662"/>
                    <a:pt x="687" y="848"/>
                    <a:pt x="439" y="848"/>
                  </a:cubicBezTo>
                  <a:moveTo>
                    <a:pt x="439" y="193"/>
                  </a:moveTo>
                  <a:cubicBezTo>
                    <a:pt x="314" y="193"/>
                    <a:pt x="222" y="288"/>
                    <a:pt x="222" y="424"/>
                  </a:cubicBezTo>
                  <a:cubicBezTo>
                    <a:pt x="222" y="553"/>
                    <a:pt x="319" y="655"/>
                    <a:pt x="442" y="655"/>
                  </a:cubicBezTo>
                  <a:cubicBezTo>
                    <a:pt x="568" y="655"/>
                    <a:pt x="660" y="557"/>
                    <a:pt x="660" y="424"/>
                  </a:cubicBezTo>
                  <a:cubicBezTo>
                    <a:pt x="660" y="295"/>
                    <a:pt x="563" y="193"/>
                    <a:pt x="439" y="19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56"/>
              <a:endPara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272EC085-9727-4BD2-B3BE-B3B3EDB023FE}"/>
              </a:ext>
            </a:extLst>
          </p:cNvPr>
          <p:cNvSpPr txBox="1"/>
          <p:nvPr userDrawn="1"/>
        </p:nvSpPr>
        <p:spPr>
          <a:xfrm>
            <a:off x="984154" y="6542096"/>
            <a:ext cx="4114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956"/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rPr>
              <a:t>2020 Lenovo Confidential. All rights reserved.</a:t>
            </a:r>
          </a:p>
        </p:txBody>
      </p:sp>
      <p:sp>
        <p:nvSpPr>
          <p:cNvPr id="43" name="Text Placeholder 52">
            <a:extLst>
              <a:ext uri="{FF2B5EF4-FFF2-40B4-BE49-F238E27FC236}">
                <a16:creationId xmlns:a16="http://schemas.microsoft.com/office/drawing/2014/main" id="{7FFD796F-D9B2-4507-85B3-540B16863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36" y="1471938"/>
            <a:ext cx="10751226" cy="453497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marL="225425" lvl="0" indent="-225425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61963" lvl="1" indent="-236538">
              <a:buClr>
                <a:schemeClr val="tx1"/>
              </a:buClr>
              <a:buFont typeface="Arial" panose="020B0604020202020204" pitchFamily="34" charset="0"/>
              <a:buChar char="−"/>
            </a:pPr>
            <a:r>
              <a:rPr lang="en-US" dirty="0"/>
              <a:t>Second</a:t>
            </a:r>
          </a:p>
          <a:p>
            <a:pPr marL="688975" lvl="2" indent="-227013"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117412131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  <p:sldLayoutId id="2147483698" r:id="rId2"/>
    <p:sldLayoutId id="2147483678" r:id="rId3"/>
    <p:sldLayoutId id="2147483701" r:id="rId4"/>
    <p:sldLayoutId id="2147483690" r:id="rId5"/>
    <p:sldLayoutId id="2147483683" r:id="rId6"/>
    <p:sldLayoutId id="2147483693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600" b="1" i="0" u="none" strike="noStrike" cap="none" dirty="0">
          <a:solidFill>
            <a:srgbClr val="FFC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400" b="0" i="0" u="none" strike="noStrike" cap="none" dirty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200" b="0" i="0" u="none" strike="noStrike" cap="none" dirty="0">
          <a:solidFill>
            <a:schemeClr val="bg2">
              <a:lumMod val="75000"/>
            </a:schemeClr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lang="en-US" sz="1000" b="0" i="0" u="none" strike="noStrike" cap="none" dirty="0" smtClean="0">
          <a:solidFill>
            <a:schemeClr val="bg2">
              <a:lumMod val="85000"/>
            </a:schemeClr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93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EA4335"/>
          </p15:clr>
        </p15:guide>
        <p15:guide id="2" orient="horz" pos="384">
          <p15:clr>
            <a:srgbClr val="EA4335"/>
          </p15:clr>
        </p15:guide>
        <p15:guide id="3" orient="horz" pos="3967">
          <p15:clr>
            <a:srgbClr val="EA4335"/>
          </p15:clr>
        </p15:guide>
        <p15:guide id="4" pos="7296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 altLang="zh-CN" dirty="0">
                <a:solidFill>
                  <a:prstClr val="white"/>
                </a:solidFill>
                <a:sym typeface="Arial"/>
              </a:rPr>
              <a:t>Analysis big data system </a:t>
            </a:r>
            <a:r>
              <a:rPr lang="en-US" altLang="zh-CN" dirty="0">
                <a:solidFill>
                  <a:prstClr val="white"/>
                </a:solidFill>
                <a:latin typeface="Arial"/>
                <a:sym typeface="Arial"/>
              </a:rPr>
              <a:t>-</a:t>
            </a:r>
            <a:r>
              <a:rPr lang="en-US" altLang="zh-CN" dirty="0" err="1">
                <a:solidFill>
                  <a:prstClr val="white"/>
                </a:solidFill>
                <a:latin typeface="Arial"/>
                <a:sym typeface="Arial"/>
              </a:rPr>
              <a:t>Wangqiang</a:t>
            </a:r>
            <a:endParaRPr lang="zh-CN" altLang="en-US" sz="1800" b="0" dirty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F26B3D9-8520-4E55-BDA0-22441C8C788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矩形 7"/>
          <p:cNvSpPr/>
          <p:nvPr/>
        </p:nvSpPr>
        <p:spPr>
          <a:xfrm>
            <a:off x="446591" y="894141"/>
            <a:ext cx="11187628" cy="390876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CN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项目进度</a:t>
            </a:r>
            <a:endParaRPr lang="en-US" altLang="zh-CN" sz="1600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>
              <a:defRPr/>
            </a:pP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主机分析跟踪开发 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组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CFC FA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段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13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-20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新增 客户端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I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搭建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-23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新增 物料组建单功能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-27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新增 物料组关单功能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-30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新增 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FC FA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借机功能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04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调整 优化刷卡机待机监测状态，已测试可以稳定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行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10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新增 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E ME/SD BU ME 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端 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13:	  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增 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E M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机交接功能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00B050"/>
              </a:buClr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管理员界面，新增用户管理（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us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00B050"/>
              </a:buClr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EE 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量数字化展示（初版） 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01-13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06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提出需求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09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设计上传表字段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13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版需求确认 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E </a:t>
            </a:r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E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机交接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</a:t>
            </a:r>
            <a:endParaRPr lang="en-US" altLang="zh-CN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46591" y="5197167"/>
            <a:ext cx="5823580" cy="124123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4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Nextstep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（下一步计划）</a:t>
            </a:r>
            <a:r>
              <a:rPr kumimoji="0" lang="zh-CN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：</a:t>
            </a:r>
            <a:endParaRPr kumimoji="0" lang="en-US" altLang="zh-CN" sz="2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>
              <a:defRPr/>
            </a:pPr>
            <a:r>
              <a:rPr lang="en-US" altLang="zh-CN" sz="1600" kern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1</a:t>
            </a:r>
            <a:r>
              <a:rPr lang="en-US" altLang="zh-CN" sz="1600" b="1" kern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.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主机分析跟踪开发 （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 BU ME &amp;BE M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段）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-21</a:t>
            </a:r>
          </a:p>
          <a:p>
            <a:pPr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EE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量数字化展示 （初版）</a:t>
            </a:r>
            <a:r>
              <a:rPr lang="en-US" altLang="zh-CN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01-18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buClr>
                <a:srgbClr val="000000"/>
              </a:buClr>
              <a:defRPr/>
            </a:pPr>
            <a:endParaRPr lang="en-US" altLang="zh-CN" kern="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  <a:p>
            <a:pPr lvl="0">
              <a:buClr>
                <a:srgbClr val="000000"/>
              </a:buClr>
              <a:defRPr/>
            </a:pPr>
            <a:r>
              <a:rPr lang="en-US" altLang="zh-CN" kern="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  </a:t>
            </a:r>
            <a:endParaRPr lang="en-US" altLang="zh-CN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376419" y="5197167"/>
            <a:ext cx="5257800" cy="126188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Help Needed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（帮助）</a:t>
            </a:r>
            <a:r>
              <a:rPr kumimoji="0" lang="zh-CN" alt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/>
              </a:rPr>
              <a:t>：</a:t>
            </a:r>
            <a:endParaRPr lang="en-US" altLang="zh-CN" sz="16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CN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1.P520</a:t>
            </a:r>
            <a:r>
              <a:rPr lang="zh-CN" altLang="en-US" sz="16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站服务器</a:t>
            </a: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故障</a:t>
            </a: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，需要进行维修（</a:t>
            </a:r>
            <a:r>
              <a:rPr kumimoji="0" lang="en-US" altLang="zh-CN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Open</a:t>
            </a:r>
            <a:r>
              <a:rPr kumimoji="0" lang="zh-CN" altLang="en-US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）</a:t>
            </a:r>
            <a:endParaRPr kumimoji="0" lang="en-US" altLang="zh-CN" sz="16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altLang="zh-CN" sz="18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altLang="zh-CN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Arial"/>
            </a:endParaRPr>
          </a:p>
        </p:txBody>
      </p:sp>
      <p:graphicFrame>
        <p:nvGraphicFramePr>
          <p:cNvPr id="21" name="图示 20"/>
          <p:cNvGraphicFramePr/>
          <p:nvPr>
            <p:extLst>
              <p:ext uri="{D42A27DB-BD31-4B8C-83A1-F6EECF244321}">
                <p14:modId xmlns:p14="http://schemas.microsoft.com/office/powerpoint/2010/main" val="1041090661"/>
              </p:ext>
            </p:extLst>
          </p:nvPr>
        </p:nvGraphicFramePr>
        <p:xfrm>
          <a:off x="3508637" y="967835"/>
          <a:ext cx="7935757" cy="8001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63229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35&quot; g=&quot;35&quot; b=&quot;35&quot;/&gt;&lt;m_nBrightness endver=&quot;26206&quot; val=&quot;0&quot;/&gt;&lt;/elem&gt;&lt;elem m_fUsage=&quot;9.00000000000000022204E-01&quot;&gt;&lt;m_msothmcolidx val=&quot;0&quot;/&gt;&lt;m_rgb r=&quot;00&quot; g=&quot;20&quot; b=&quot;60&quot;/&gt;&lt;m_nBrightness endver=&quot;26206&quot; val=&quot;0&quot;/&gt;&lt;/elem&gt;&lt;elem m_fUsage=&quot;8.10000000000000053291E-01&quot;&gt;&lt;m_msothmcolidx val=&quot;0&quot;/&gt;&lt;m_rgb r=&quot;48&quot; g=&quot;A1&quot; b=&quot;FA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orola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noAutofit/>
      </a:bodyPr>
      <a:lstStyle>
        <a:defPPr algn="l">
          <a:defRPr sz="16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enovo+Moto">
  <a:themeElements>
    <a:clrScheme name="Strategy-8_2020">
      <a:dk1>
        <a:srgbClr val="FFFFFF"/>
      </a:dk1>
      <a:lt1>
        <a:srgbClr val="001428"/>
      </a:lt1>
      <a:dk2>
        <a:srgbClr val="FFFFFF"/>
      </a:dk2>
      <a:lt2>
        <a:srgbClr val="001428"/>
      </a:lt2>
      <a:accent1>
        <a:srgbClr val="F2F2F2"/>
      </a:accent1>
      <a:accent2>
        <a:srgbClr val="B5B5B5"/>
      </a:accent2>
      <a:accent3>
        <a:srgbClr val="3C3C3C"/>
      </a:accent3>
      <a:accent4>
        <a:srgbClr val="00B0F0"/>
      </a:accent4>
      <a:accent5>
        <a:srgbClr val="FF564E"/>
      </a:accent5>
      <a:accent6>
        <a:srgbClr val="FFC000"/>
      </a:accent6>
      <a:hlink>
        <a:srgbClr val="DDC8B7"/>
      </a:hlink>
      <a:folHlink>
        <a:srgbClr val="00B0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sz="1600" b="1" dirty="0" err="1">
            <a:solidFill>
              <a:schemeClr val="tx1"/>
            </a:solidFill>
            <a:latin typeface="Arial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C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sz="1600" b="1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1</TotalTime>
  <Words>225</Words>
  <Application>Microsoft Office PowerPoint</Application>
  <PresentationFormat>宽屏</PresentationFormat>
  <Paragraphs>3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Montserrat</vt:lpstr>
      <vt:lpstr>微软雅黑</vt:lpstr>
      <vt:lpstr>Arial</vt:lpstr>
      <vt:lpstr>Wingdings</vt:lpstr>
      <vt:lpstr>Motorola</vt:lpstr>
      <vt:lpstr>Lenovo+Moto</vt:lpstr>
      <vt:lpstr>think-cell Slide</vt:lpstr>
      <vt:lpstr>Analysis big data system -Wangqia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TOROLA TEMPLATE    2020 - 2021</dc:title>
  <dc:creator>Sudhir Chadaga</dc:creator>
  <cp:lastModifiedBy>Qiang Qiang24 Wang</cp:lastModifiedBy>
  <cp:revision>269</cp:revision>
  <dcterms:modified xsi:type="dcterms:W3CDTF">2022-01-13T06:47:37Z</dcterms:modified>
</cp:coreProperties>
</file>